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sldIdLst>
    <p:sldId id="256" r:id="rId2"/>
    <p:sldId id="287" r:id="rId3"/>
    <p:sldId id="270" r:id="rId4"/>
    <p:sldId id="261" r:id="rId5"/>
    <p:sldId id="257" r:id="rId6"/>
    <p:sldId id="258" r:id="rId7"/>
    <p:sldId id="263" r:id="rId8"/>
    <p:sldId id="269" r:id="rId9"/>
    <p:sldId id="271" r:id="rId10"/>
    <p:sldId id="264" r:id="rId11"/>
    <p:sldId id="281" r:id="rId12"/>
    <p:sldId id="282" r:id="rId13"/>
    <p:sldId id="283" r:id="rId14"/>
    <p:sldId id="288" r:id="rId15"/>
    <p:sldId id="289" r:id="rId16"/>
    <p:sldId id="265" r:id="rId17"/>
    <p:sldId id="292" r:id="rId18"/>
    <p:sldId id="290" r:id="rId19"/>
    <p:sldId id="291" r:id="rId20"/>
    <p:sldId id="266" r:id="rId21"/>
    <p:sldId id="272" r:id="rId22"/>
    <p:sldId id="293" r:id="rId23"/>
    <p:sldId id="274" r:id="rId24"/>
    <p:sldId id="277" r:id="rId25"/>
    <p:sldId id="284" r:id="rId26"/>
    <p:sldId id="275" r:id="rId27"/>
    <p:sldId id="280" r:id="rId28"/>
    <p:sldId id="267" r:id="rId29"/>
    <p:sldId id="276" r:id="rId30"/>
    <p:sldId id="278" r:id="rId31"/>
    <p:sldId id="279" r:id="rId32"/>
    <p:sldId id="268" r:id="rId33"/>
    <p:sldId id="297" r:id="rId34"/>
    <p:sldId id="298" r:id="rId35"/>
    <p:sldId id="296" r:id="rId36"/>
    <p:sldId id="295" r:id="rId37"/>
    <p:sldId id="301" r:id="rId38"/>
    <p:sldId id="299" r:id="rId39"/>
    <p:sldId id="300" r:id="rId40"/>
    <p:sldId id="259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tion" id="{CF6980BE-7B64-4C86-BA4E-DD37377B6349}">
          <p14:sldIdLst>
            <p14:sldId id="256"/>
            <p14:sldId id="287"/>
            <p14:sldId id="270"/>
          </p14:sldIdLst>
        </p14:section>
        <p14:section name="Business Understanding" id="{0EC39C27-8CE1-4BA6-B7F6-D0C7DB671CBF}">
          <p14:sldIdLst>
            <p14:sldId id="261"/>
            <p14:sldId id="257"/>
            <p14:sldId id="258"/>
            <p14:sldId id="263"/>
            <p14:sldId id="269"/>
            <p14:sldId id="271"/>
          </p14:sldIdLst>
        </p14:section>
        <p14:section name="Data Understanding" id="{E1B3EB16-61A2-4336-96A0-84237065513E}">
          <p14:sldIdLst>
            <p14:sldId id="264"/>
            <p14:sldId id="281"/>
            <p14:sldId id="282"/>
            <p14:sldId id="283"/>
            <p14:sldId id="288"/>
            <p14:sldId id="289"/>
          </p14:sldIdLst>
        </p14:section>
        <p14:section name="Data Preparation" id="{347E05D8-A964-466F-BCEA-ED00787652BC}">
          <p14:sldIdLst>
            <p14:sldId id="265"/>
            <p14:sldId id="292"/>
            <p14:sldId id="290"/>
            <p14:sldId id="291"/>
          </p14:sldIdLst>
        </p14:section>
        <p14:section name="Modelling" id="{5BE25DC3-B9CA-43D7-A2FD-F90AFE049A55}">
          <p14:sldIdLst>
            <p14:sldId id="266"/>
            <p14:sldId id="272"/>
            <p14:sldId id="293"/>
            <p14:sldId id="274"/>
            <p14:sldId id="277"/>
            <p14:sldId id="284"/>
            <p14:sldId id="275"/>
            <p14:sldId id="280"/>
          </p14:sldIdLst>
        </p14:section>
        <p14:section name="Evaluation" id="{4115B460-21F6-4051-ABEE-6339A5F8AB4B}">
          <p14:sldIdLst>
            <p14:sldId id="267"/>
            <p14:sldId id="276"/>
            <p14:sldId id="278"/>
            <p14:sldId id="279"/>
          </p14:sldIdLst>
        </p14:section>
        <p14:section name="Deployment" id="{296AEC06-97D0-4B69-85FA-F0C4070D2628}">
          <p14:sldIdLst>
            <p14:sldId id="268"/>
            <p14:sldId id="297"/>
            <p14:sldId id="298"/>
            <p14:sldId id="296"/>
            <p14:sldId id="295"/>
            <p14:sldId id="301"/>
            <p14:sldId id="299"/>
          </p14:sldIdLst>
        </p14:section>
        <p14:section name="Appendix" id="{550DC3E4-5ADC-49D4-B8BC-0B17E559B282}">
          <p14:sldIdLst>
            <p14:sldId id="30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C5E0B4"/>
    <a:srgbClr val="92D150"/>
    <a:srgbClr val="FFC000"/>
    <a:srgbClr val="92D050"/>
    <a:srgbClr val="40B92A"/>
    <a:srgbClr val="5F6A75"/>
    <a:srgbClr val="5CA557"/>
    <a:srgbClr val="F6F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85" autoAdjust="0"/>
  </p:normalViewPr>
  <p:slideViewPr>
    <p:cSldViewPr snapToGrid="0">
      <p:cViewPr varScale="1">
        <p:scale>
          <a:sx n="87" d="100"/>
          <a:sy n="87" d="100"/>
        </p:scale>
        <p:origin x="52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b66bbe0ee5c4d160/Data%20Scientist%20Academy/Capstone%20Project/2020_04_08_Update/cluster2_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d.docs.live.net/b66bbe0ee5c4d160/Data%20Scientist%20Academy/Capstone%20Project/2020_04_08_Update/cluster2_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TSEL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37-8D4F-ACC4-91C248AF1D5D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37-8D4F-ACC4-91C248AF1D5D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D37-8D4F-ACC4-91C248AF1D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46:$I$48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46:$J$48</c:f>
              <c:numCache>
                <c:formatCode>#,##0,</c:formatCode>
                <c:ptCount val="3"/>
                <c:pt idx="0">
                  <c:v>75000</c:v>
                </c:pt>
                <c:pt idx="1">
                  <c:v>291285.21814689494</c:v>
                </c:pt>
                <c:pt idx="2">
                  <c:v>-216285.21814689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D37-8D4F-ACC4-91C248AF1D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ISAT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A-D240-B355-C3D5E24E6201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A-D240-B355-C3D5E24E6201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CA-D240-B355-C3D5E24E62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63:$I$65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63:$J$65</c:f>
              <c:numCache>
                <c:formatCode>#,##0,</c:formatCode>
                <c:ptCount val="3"/>
                <c:pt idx="0">
                  <c:v>50000</c:v>
                </c:pt>
                <c:pt idx="1">
                  <c:v>190922.30286761091</c:v>
                </c:pt>
                <c:pt idx="2">
                  <c:v>-140922.30286761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CA-D240-B355-C3D5E24E620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EXCL Profita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9A-DA45-92D0-AB24BBDDE987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9A-DA45-92D0-AB24BBDDE987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9A-DA45-92D0-AB24BBDDE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I$74:$I$76</c:f>
              <c:strCache>
                <c:ptCount val="3"/>
                <c:pt idx="0">
                  <c:v>REVENUE</c:v>
                </c:pt>
                <c:pt idx="1">
                  <c:v>COST</c:v>
                </c:pt>
                <c:pt idx="2">
                  <c:v>OPERATING MARGIN</c:v>
                </c:pt>
              </c:strCache>
            </c:strRef>
          </c:cat>
          <c:val>
            <c:numRef>
              <c:f>'1'!$J$74:$J$76</c:f>
              <c:numCache>
                <c:formatCode>#,##0,</c:formatCode>
                <c:ptCount val="3"/>
                <c:pt idx="0">
                  <c:v>75000</c:v>
                </c:pt>
                <c:pt idx="1">
                  <c:v>375621.79335339385</c:v>
                </c:pt>
                <c:pt idx="2">
                  <c:v>-300621.79335339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F9A-DA45-92D0-AB24BBDDE98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-27"/>
        <c:axId val="1335837999"/>
        <c:axId val="1334543567"/>
      </c:barChart>
      <c:catAx>
        <c:axId val="133583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4543567"/>
        <c:crosses val="autoZero"/>
        <c:auto val="1"/>
        <c:lblAlgn val="ctr"/>
        <c:lblOffset val="100"/>
        <c:noMultiLvlLbl val="0"/>
      </c:catAx>
      <c:valAx>
        <c:axId val="1334543567"/>
        <c:scaling>
          <c:orientation val="minMax"/>
        </c:scaling>
        <c:delete val="1"/>
        <c:axPos val="l"/>
        <c:numFmt formatCode="#,##0," sourceLinked="1"/>
        <c:majorTickMark val="none"/>
        <c:minorTickMark val="none"/>
        <c:tickLblPos val="nextTo"/>
        <c:crossAx val="133583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/>
              <a:t>ARPU</a:t>
            </a:r>
            <a:r>
              <a:rPr lang="en-US" b="1" baseline="0"/>
              <a:t> Subsegmen Profitability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'1'!$W$26</c:f>
              <c:strCache>
                <c:ptCount val="1"/>
                <c:pt idx="0">
                  <c:v> Package Cost 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W$27:$W$35</c:f>
              <c:numCache>
                <c:formatCode>#,##0,</c:formatCode>
                <c:ptCount val="9"/>
                <c:pt idx="0">
                  <c:v>291285.21814689494</c:v>
                </c:pt>
                <c:pt idx="1">
                  <c:v>291285.21814689494</c:v>
                </c:pt>
                <c:pt idx="2">
                  <c:v>291285.21814689494</c:v>
                </c:pt>
                <c:pt idx="3">
                  <c:v>291285.21814689494</c:v>
                </c:pt>
                <c:pt idx="4">
                  <c:v>291285.21814689494</c:v>
                </c:pt>
                <c:pt idx="5">
                  <c:v>291285.21814689494</c:v>
                </c:pt>
                <c:pt idx="6">
                  <c:v>291285.21814689494</c:v>
                </c:pt>
                <c:pt idx="7">
                  <c:v>291285.21814689494</c:v>
                </c:pt>
                <c:pt idx="8">
                  <c:v>291285.21814689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3-9A44-B9FB-987E1ACC0D07}"/>
            </c:ext>
          </c:extLst>
        </c:ser>
        <c:ser>
          <c:idx val="2"/>
          <c:order val="1"/>
          <c:tx>
            <c:strRef>
              <c:f>'1'!$X$26</c:f>
              <c:strCache>
                <c:ptCount val="1"/>
                <c:pt idx="0">
                  <c:v> MARGIN </c:v>
                </c:pt>
              </c:strCache>
            </c:strRef>
          </c:tx>
          <c:spPr>
            <a:solidFill>
              <a:srgbClr val="FFC000"/>
            </a:solidFill>
            <a:ln w="28575"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4.9055433366337366E-3"/>
                  <c:y val="-1.07455053962320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ED3-9A44-B9FB-987E1ACC0D07}"/>
                </c:ext>
              </c:extLst>
            </c:dLbl>
            <c:dLbl>
              <c:idx val="5"/>
              <c:layout>
                <c:manualLayout>
                  <c:x val="-8.1231927373329547E-3"/>
                  <c:y val="-2.68637634905806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D3-9A44-B9FB-987E1ACC0D07}"/>
                </c:ext>
              </c:extLst>
            </c:dLbl>
            <c:dLbl>
              <c:idx val="8"/>
              <c:layout>
                <c:manualLayout>
                  <c:x val="-4.8445443374762493E-3"/>
                  <c:y val="2.14910107924640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ED3-9A44-B9FB-987E1ACC0D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X$27:$X$35</c:f>
              <c:numCache>
                <c:formatCode>#,##0,</c:formatCode>
                <c:ptCount val="9"/>
                <c:pt idx="0">
                  <c:v>-251851.40252589621</c:v>
                </c:pt>
                <c:pt idx="1">
                  <c:v>-200853.03773524359</c:v>
                </c:pt>
                <c:pt idx="2">
                  <c:v>-102587.21038132714</c:v>
                </c:pt>
                <c:pt idx="3">
                  <c:v>-246298.3539493641</c:v>
                </c:pt>
                <c:pt idx="4">
                  <c:v>-192457.1965608286</c:v>
                </c:pt>
                <c:pt idx="5">
                  <c:v>-92798.160082378832</c:v>
                </c:pt>
                <c:pt idx="6">
                  <c:v>-248475.13919952651</c:v>
                </c:pt>
                <c:pt idx="7">
                  <c:v>-174152.59723186225</c:v>
                </c:pt>
                <c:pt idx="8">
                  <c:v>-5616.6000093644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D3-9A44-B9FB-987E1ACC0D07}"/>
            </c:ext>
          </c:extLst>
        </c:ser>
        <c:ser>
          <c:idx val="0"/>
          <c:order val="2"/>
          <c:tx>
            <c:strRef>
              <c:f>'1'!$V$26</c:f>
              <c:strCache>
                <c:ptCount val="1"/>
                <c:pt idx="0">
                  <c:v> ARPU </c:v>
                </c:pt>
              </c:strCache>
            </c:strRef>
          </c:tx>
          <c:spPr>
            <a:solidFill>
              <a:srgbClr val="FF0000"/>
            </a:solidFill>
            <a:ln w="28575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'!$U$27:$U$35</c:f>
              <c:strCache>
                <c:ptCount val="9"/>
                <c:pt idx="0">
                  <c:v>EC - A</c:v>
                </c:pt>
                <c:pt idx="1">
                  <c:v>EC - B</c:v>
                </c:pt>
                <c:pt idx="2">
                  <c:v>EC - C</c:v>
                </c:pt>
                <c:pt idx="3">
                  <c:v>MS - A</c:v>
                </c:pt>
                <c:pt idx="4">
                  <c:v>MS - B</c:v>
                </c:pt>
                <c:pt idx="5">
                  <c:v>MS - C</c:v>
                </c:pt>
                <c:pt idx="6">
                  <c:v>DA - A</c:v>
                </c:pt>
                <c:pt idx="7">
                  <c:v>DA - B</c:v>
                </c:pt>
                <c:pt idx="8">
                  <c:v>DA - C</c:v>
                </c:pt>
              </c:strCache>
            </c:strRef>
          </c:cat>
          <c:val>
            <c:numRef>
              <c:f>'1'!$V$27:$V$35</c:f>
              <c:numCache>
                <c:formatCode>#,##0,</c:formatCode>
                <c:ptCount val="9"/>
                <c:pt idx="0">
                  <c:v>39433.815620998721</c:v>
                </c:pt>
                <c:pt idx="1">
                  <c:v>90432.180411651352</c:v>
                </c:pt>
                <c:pt idx="2">
                  <c:v>188698.0077655678</c:v>
                </c:pt>
                <c:pt idx="3">
                  <c:v>44986.864197530856</c:v>
                </c:pt>
                <c:pt idx="4">
                  <c:v>98828.02158606633</c:v>
                </c:pt>
                <c:pt idx="5">
                  <c:v>198487.05806451611</c:v>
                </c:pt>
                <c:pt idx="6">
                  <c:v>42810.07894736842</c:v>
                </c:pt>
                <c:pt idx="7">
                  <c:v>117132.6209150327</c:v>
                </c:pt>
                <c:pt idx="8">
                  <c:v>285668.618137530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ED3-9A44-B9FB-987E1ACC0D0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axId val="1331427983"/>
        <c:axId val="1331196367"/>
      </c:barChart>
      <c:catAx>
        <c:axId val="13314279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1196367"/>
        <c:crosses val="autoZero"/>
        <c:auto val="1"/>
        <c:lblAlgn val="ctr"/>
        <c:lblOffset val="100"/>
        <c:noMultiLvlLbl val="0"/>
      </c:catAx>
      <c:valAx>
        <c:axId val="1331196367"/>
        <c:scaling>
          <c:orientation val="minMax"/>
        </c:scaling>
        <c:delete val="0"/>
        <c:axPos val="b"/>
        <c:numFmt formatCode="#,##0,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3142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5A4B9-D631-40F8-8887-CBC5BADB476E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E5C4D-F63C-4730-9E2B-A37C1062B68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42360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96D39-1B1A-4975-A5C3-7B96AC55E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842FAF-6D16-4E9D-B2F3-1C4147DCF4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78D98-3C79-496C-896D-D599DD466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D833C-D982-43DE-9FFA-B90C8930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FFC48-8FC0-4531-AF1D-9CAEA93F7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996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7305B-08DF-44C3-A30A-F44A6E92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82B184-1E6C-4DD1-9007-4428FAD27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A5F3C-0551-4725-93E1-331F8D15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23977-8E0E-422F-A1CE-E8C9EE5C9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4A02D-53FD-4736-87FE-92565BE48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0805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CB8860-3AEE-48A3-A9FD-19FD7B2F5E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A3A7CE-EA39-4ACF-9386-75D702F7E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009BC-84F8-4D5D-B884-4EFE462BC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C7CBB-443E-4B62-8240-5358AD452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E94B42-0664-4D99-8AAD-169A5CAB5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3386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74411-3ED9-49E4-981B-94272CF14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3E4240-E6BE-4A6E-9584-C8E8BE6B9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07371-967B-40A5-86BD-0A0DBB79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52DAF-EE94-4A85-8B9A-12EBE4B29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159CED-5AE5-4410-8C2C-76A655EAE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1160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CADAE-918A-44CB-BD34-37682DAF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8E291-306C-47D0-83CA-71E01C49EF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56E7E-56DB-49C0-AEEB-CF3C99B9B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6412C-0201-488E-AA89-D1033A5F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17493-94E0-4EC6-B37C-E82A3B534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0024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28944-FD3E-4C41-BF09-4A955DBBE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5229B-78BB-41FD-A3BD-BF257AA1BE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B86EE0-9448-4C9E-9AB7-E37A0ED4C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0C3B5D-F820-4ECD-B4DD-9EE9F977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FFBDA3-97CC-4D67-800F-64F7271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7B6D9-A357-428B-A6F8-942434A01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7360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7419A-4A3C-4B18-A03E-52F10047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D7147-C8AD-4263-9648-8B42B1B757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DB4F81-5466-4AC5-9D65-EDF3D6CC9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0F9553-CDFD-4758-AFE4-A1021E8212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C4FFA6-F602-4B38-BBCA-FA16208B57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D36994-70D1-4CD6-84A2-0E74AF957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933EBD0-3BF8-4CF2-97EC-FD10B85A8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F34D84-CDE9-4799-AE13-CEE624F3E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7740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BA644-F7D4-4BED-9958-30146C8B3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96C736-0307-4444-98F6-969D73604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AFE60-5586-47BD-945D-3D6533405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D09D1C-B203-4BD5-9579-ED939DA55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84299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C16FAB-CBC3-4364-8285-090B0FD623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FF207F-D1D0-4FD0-B394-24968DF19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F87E2-3BB6-4672-AEF8-23AD16CE8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9909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CA837-4AEA-41C5-869E-C769188F9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B5114-D4F9-4FE5-9FD4-212A6A7C4E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8831D-32CE-403C-9E4C-2B6545BC4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18DC56-8311-47FD-AF39-EEA34CD72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134C32-3001-4C56-965D-7CF1BE2E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9712A7-A3B6-4190-BAD5-8182C3D5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4868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995F5-5E71-4977-9CB3-B322B5FD6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578938-F100-4F40-A6D6-F3FA2394AA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3F836-E3EE-430C-B5F5-33F36CC81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74A863-DF22-458C-89F2-DD4C54908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946BCB-BDE5-4160-B5EF-6B33F247B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2D8A90-3BD9-43E8-B348-06DE79C8E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8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198009-D63B-4CF4-AE0F-2CE566A5B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888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B49D3C2-D432-4A19-B291-9989A9857C7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2DC822-CDFA-4C88-872D-73591538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D5BF2E-9FBD-414A-ADBB-7F0BBBD356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15730-D40D-40FE-8CFE-97A12EFBA3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8BCED-ECFD-4A14-A07F-396C7EA0B891}" type="datetimeFigureOut">
              <a:rPr lang="en-ID" smtClean="0"/>
              <a:t>09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CEA70-03CB-48E4-8798-C2CFD0AE24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3D3-C68B-4DFC-B35A-543E85F5C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000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tags" Target="../tags/tag14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1.emf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chart" Target="../charts/chart3.xml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12.jfif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6BCA8A-CCE2-495F-B4EC-CCDACBB16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514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0E9A4906-9D88-4201-9857-1F4E2C5EA49D}"/>
              </a:ext>
            </a:extLst>
          </p:cNvPr>
          <p:cNvSpPr/>
          <p:nvPr/>
        </p:nvSpPr>
        <p:spPr>
          <a:xfrm>
            <a:off x="1741915" y="1382814"/>
            <a:ext cx="3492290" cy="349229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6261793-28E0-4841-B284-F7CF9CC1229C}"/>
              </a:ext>
            </a:extLst>
          </p:cNvPr>
          <p:cNvSpPr/>
          <p:nvPr/>
        </p:nvSpPr>
        <p:spPr>
          <a:xfrm>
            <a:off x="-2972131" y="341750"/>
            <a:ext cx="5633417" cy="5574419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Picture 2" descr="https://miro.medium.com/max/653/1*SRtha1Cb7gY6F6FtgE7_xw.png">
            <a:extLst>
              <a:ext uri="{FF2B5EF4-FFF2-40B4-BE49-F238E27FC236}">
                <a16:creationId xmlns:a16="http://schemas.microsoft.com/office/drawing/2014/main" id="{9488EB5E-30E3-4431-8B01-DDC0D977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4" y="1838324"/>
            <a:ext cx="4318671" cy="258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4A4FE4-830B-4B69-9592-19043D36D3AB}"/>
              </a:ext>
            </a:extLst>
          </p:cNvPr>
          <p:cNvSpPr txBox="1"/>
          <p:nvPr/>
        </p:nvSpPr>
        <p:spPr>
          <a:xfrm>
            <a:off x="5699761" y="1838324"/>
            <a:ext cx="41757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SCIENCE ACADEMY</a:t>
            </a:r>
          </a:p>
          <a:p>
            <a:r>
              <a:rPr lang="en-ID" b="1" dirty="0">
                <a:latin typeface="Google Sans" panose="020B0503030502040204" pitchFamily="34" charset="0"/>
              </a:rPr>
              <a:t>CAPSTONE PROJECT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RIDE HAILING 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INTERNET PACKAGE</a:t>
            </a:r>
            <a:endParaRPr lang="id-ID" sz="28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2" descr="Image result for transformation go digital telkomsel">
            <a:extLst>
              <a:ext uri="{FF2B5EF4-FFF2-40B4-BE49-F238E27FC236}">
                <a16:creationId xmlns:a16="http://schemas.microsoft.com/office/drawing/2014/main" id="{1DD2E2DE-ADFA-40FC-9F28-008A876C1C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76" b="33333"/>
          <a:stretch/>
        </p:blipFill>
        <p:spPr bwMode="auto">
          <a:xfrm>
            <a:off x="10393866" y="56535"/>
            <a:ext cx="1723051" cy="64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telkomsel transformation logo">
            <a:extLst>
              <a:ext uri="{FF2B5EF4-FFF2-40B4-BE49-F238E27FC236}">
                <a16:creationId xmlns:a16="http://schemas.microsoft.com/office/drawing/2014/main" id="{BEE4F009-3621-4809-807B-010C8374C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4557" y="6209577"/>
            <a:ext cx="1162956" cy="53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8A474E-CA9C-44C5-A511-2E57E93BBF37}"/>
              </a:ext>
            </a:extLst>
          </p:cNvPr>
          <p:cNvSpPr/>
          <p:nvPr/>
        </p:nvSpPr>
        <p:spPr>
          <a:xfrm>
            <a:off x="5699760" y="3657200"/>
            <a:ext cx="6096000" cy="16825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600"/>
              </a:spcAft>
            </a:pP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BB9CA-08EA-4EEF-A6C5-48BE099749AF}"/>
              </a:ext>
            </a:extLst>
          </p:cNvPr>
          <p:cNvSpPr/>
          <p:nvPr/>
        </p:nvSpPr>
        <p:spPr>
          <a:xfrm>
            <a:off x="5831840" y="3438762"/>
            <a:ext cx="3492290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131902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989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2CBCDCF-7C3F-4901-B34B-B1BEE96D9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097" y="1837887"/>
            <a:ext cx="4356589" cy="395751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547k subscriber from whitelist took the package, and users with active </a:t>
            </a:r>
            <a:r>
              <a:rPr lang="en-ID" sz="2400" dirty="0" err="1">
                <a:latin typeface="Google Sans" panose="020B0503030502040204" pitchFamily="34" charset="0"/>
              </a:rPr>
              <a:t>MyTelkomsel</a:t>
            </a:r>
            <a:r>
              <a:rPr lang="en-ID" sz="2400" dirty="0">
                <a:latin typeface="Google Sans" panose="020B0503030502040204" pitchFamily="34" charset="0"/>
              </a:rPr>
              <a:t> app have higher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0B6744-1F88-4137-8C7A-C49C13CEC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870" y="1635880"/>
            <a:ext cx="2650950" cy="424398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2224907" y="5973238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41.77% subscriber </a:t>
            </a:r>
            <a:r>
              <a:rPr lang="en-ID" sz="1200" dirty="0">
                <a:latin typeface="Google Sans" panose="020B0503030502040204" pitchFamily="34" charset="0"/>
              </a:rPr>
              <a:t>from cleaned dataset, take the package in previous month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2403299" y="1069552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Overall Taker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>
            <a:off x="9152791" y="4328548"/>
            <a:ext cx="1271187" cy="479733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412858" y="1238829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MyTsel</a:t>
            </a:r>
            <a:r>
              <a:rPr lang="en-ID" sz="1600" b="1" dirty="0">
                <a:latin typeface="Google Sans" panose="020B0503030502040204" pitchFamily="34" charset="0"/>
              </a:rPr>
              <a:t> 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7588704" y="5965792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activity in </a:t>
            </a:r>
            <a:r>
              <a:rPr lang="en-ID" sz="1200" dirty="0" err="1">
                <a:latin typeface="Google Sans" panose="020B0503030502040204" pitchFamily="34" charset="0"/>
              </a:rPr>
              <a:t>MyTelkomsel</a:t>
            </a:r>
            <a:r>
              <a:rPr lang="en-ID" sz="1200" dirty="0">
                <a:latin typeface="Google Sans" panose="020B0503030502040204" pitchFamily="34" charset="0"/>
              </a:rPr>
              <a:t>, have </a:t>
            </a:r>
            <a:r>
              <a:rPr lang="en-ID" sz="1200" b="1" dirty="0">
                <a:latin typeface="Google Sans" panose="020B0503030502040204" pitchFamily="34" charset="0"/>
              </a:rPr>
              <a:t>higher rate of takers (53.41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136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gion and most frequent app category of users also have distinguish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716502" y="5969053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from </a:t>
            </a:r>
            <a:r>
              <a:rPr lang="en-ID" sz="1200" b="1" dirty="0" err="1">
                <a:latin typeface="Google Sans" panose="020B0503030502040204" pitchFamily="34" charset="0"/>
              </a:rPr>
              <a:t>Jabotabek</a:t>
            </a:r>
            <a:r>
              <a:rPr lang="en-ID" sz="1200" b="1" dirty="0">
                <a:latin typeface="Google Sans" panose="020B0503030502040204" pitchFamily="34" charset="0"/>
              </a:rPr>
              <a:t> contribute to highest number of users</a:t>
            </a:r>
            <a:r>
              <a:rPr lang="en-ID" sz="1200" dirty="0">
                <a:latin typeface="Google Sans" panose="020B0503030502040204" pitchFamily="34" charset="0"/>
              </a:rPr>
              <a:t> and </a:t>
            </a:r>
            <a:r>
              <a:rPr lang="en-ID" sz="1200" b="1" dirty="0">
                <a:latin typeface="Google Sans" panose="020B0503030502040204" pitchFamily="34" charset="0"/>
              </a:rPr>
              <a:t>high takers rate (&gt;43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770928" y="1184436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</a:t>
            </a:r>
            <a:r>
              <a:rPr lang="en-ID" sz="1600" b="1" dirty="0" err="1">
                <a:latin typeface="Google Sans" panose="020B0503030502040204" pitchFamily="34" charset="0"/>
              </a:rPr>
              <a:t>egion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219427" y="1127248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First Rank Category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5060815" y="6058268"/>
            <a:ext cx="5706210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high activity on </a:t>
            </a:r>
            <a:r>
              <a:rPr lang="en-ID" sz="1200" b="1" dirty="0">
                <a:latin typeface="Google Sans" panose="020B0503030502040204" pitchFamily="34" charset="0"/>
              </a:rPr>
              <a:t>Transportation Apps have the highest rate of takers</a:t>
            </a:r>
            <a:r>
              <a:rPr lang="en-ID" sz="1200" dirty="0">
                <a:latin typeface="Google Sans" panose="020B0503030502040204" pitchFamily="34" charset="0"/>
              </a:rPr>
              <a:t> with 56.72%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4BEFD8-C673-4F3F-B064-186F68A4E4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104" y="1577383"/>
            <a:ext cx="2802676" cy="43027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EB1E913-0446-474D-B9E0-839A30BC1965}"/>
              </a:ext>
            </a:extLst>
          </p:cNvPr>
          <p:cNvSpPr/>
          <p:nvPr/>
        </p:nvSpPr>
        <p:spPr>
          <a:xfrm>
            <a:off x="716502" y="1916170"/>
            <a:ext cx="2650951" cy="6072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47439E-05C6-4532-ADF9-C2ACAA99A7EF}"/>
              </a:ext>
            </a:extLst>
          </p:cNvPr>
          <p:cNvSpPr/>
          <p:nvPr/>
        </p:nvSpPr>
        <p:spPr>
          <a:xfrm>
            <a:off x="716502" y="2795954"/>
            <a:ext cx="2650951" cy="360485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F4F9E9-511A-4708-9C89-1A5A0FB17E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6502" y="1648714"/>
            <a:ext cx="6734837" cy="4245746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 rot="5400000">
            <a:off x="2731782" y="3336480"/>
            <a:ext cx="4295896" cy="791309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3929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12FBEE7F-D33F-424C-AA45-6AF8DFFB5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2360" y="1750349"/>
            <a:ext cx="2547690" cy="299631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venue Analysis – Package Taker have much higher revenue on the </a:t>
            </a:r>
            <a:r>
              <a:rPr lang="en-ID" sz="2400" b="1" dirty="0">
                <a:latin typeface="Google Sans" panose="020B0503030502040204" pitchFamily="34" charset="0"/>
              </a:rPr>
              <a:t>data revenue</a:t>
            </a:r>
            <a:r>
              <a:rPr lang="en-ID" sz="2400" dirty="0">
                <a:latin typeface="Google Sans" panose="020B0503030502040204" pitchFamily="34" charset="0"/>
              </a:rPr>
              <a:t> but fall short on </a:t>
            </a:r>
            <a:r>
              <a:rPr lang="en-ID" sz="2400" b="1" dirty="0">
                <a:latin typeface="Google Sans" panose="020B0503030502040204" pitchFamily="34" charset="0"/>
              </a:rPr>
              <a:t>voice revenue</a:t>
            </a:r>
            <a:r>
              <a:rPr lang="en-ID" sz="2400" dirty="0">
                <a:latin typeface="Google Sans" panose="020B0503030502040204" pitchFamily="34" charset="0"/>
              </a:rPr>
              <a:t> and </a:t>
            </a:r>
            <a:r>
              <a:rPr lang="en-ID" sz="2400" b="1" dirty="0" err="1">
                <a:latin typeface="Google Sans" panose="020B0503030502040204" pitchFamily="34" charset="0"/>
              </a:rPr>
              <a:t>sms</a:t>
            </a:r>
            <a:r>
              <a:rPr lang="en-ID" sz="2400" b="1" dirty="0">
                <a:latin typeface="Google Sans" panose="020B0503030502040204" pitchFamily="34" charset="0"/>
              </a:rPr>
              <a:t> revenu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Data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3380455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Voic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6215022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SM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0FA4F3-C61D-4AD2-AB42-8F884117001B}"/>
              </a:ext>
            </a:extLst>
          </p:cNvPr>
          <p:cNvSpPr txBox="1"/>
          <p:nvPr/>
        </p:nvSpPr>
        <p:spPr>
          <a:xfrm>
            <a:off x="911236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Total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CA94B3-40F4-4412-B532-817D71CB30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117" y="1750349"/>
            <a:ext cx="2448522" cy="2954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074F8D-9C9E-416C-8CF8-DF77DDD78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4749188"/>
            <a:ext cx="1499769" cy="90831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B29E7C-5112-4200-842D-AC2A1B4510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1870" y="5733931"/>
            <a:ext cx="1499769" cy="92664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C0F8698-B983-4C95-B343-3D0ACC4C63FD}"/>
              </a:ext>
            </a:extLst>
          </p:cNvPr>
          <p:cNvSpPr txBox="1"/>
          <p:nvPr/>
        </p:nvSpPr>
        <p:spPr>
          <a:xfrm>
            <a:off x="1933779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16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12A2E6-9A43-4B31-B2B6-F27475EC64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35473" y="1815772"/>
            <a:ext cx="2448522" cy="30295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C45130-62B0-413D-ADFD-CAAF2586B1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12489" y="4791195"/>
            <a:ext cx="1532455" cy="89048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644BA80-AE61-4B4E-82C5-48073C5FD2B0}"/>
              </a:ext>
            </a:extLst>
          </p:cNvPr>
          <p:cNvSpPr txBox="1"/>
          <p:nvPr/>
        </p:nvSpPr>
        <p:spPr>
          <a:xfrm>
            <a:off x="1933779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9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45BB2B-0EC0-44C3-B817-A49E946AE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12489" y="5742710"/>
            <a:ext cx="1532455" cy="90908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9327FF7-FE6A-49C5-BA52-13876FE926F8}"/>
              </a:ext>
            </a:extLst>
          </p:cNvPr>
          <p:cNvSpPr txBox="1"/>
          <p:nvPr/>
        </p:nvSpPr>
        <p:spPr>
          <a:xfrm>
            <a:off x="4772229" y="2807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88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4A45D16-149E-4850-82D3-1BEF833207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87829" y="1757841"/>
            <a:ext cx="2061308" cy="294705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81535DA-357D-443D-88F1-6618C9B69603}"/>
              </a:ext>
            </a:extLst>
          </p:cNvPr>
          <p:cNvSpPr txBox="1"/>
          <p:nvPr/>
        </p:nvSpPr>
        <p:spPr>
          <a:xfrm>
            <a:off x="7610679" y="2426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56.9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0D3A86C-E497-4242-96FA-CB1461A954A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47058" y="4749188"/>
            <a:ext cx="1626660" cy="9452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2F496DA-6650-401F-854C-221687C784F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7058" y="5776920"/>
            <a:ext cx="1626660" cy="93188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9FEC9DB-41E0-411A-9FF9-019051070578}"/>
              </a:ext>
            </a:extLst>
          </p:cNvPr>
          <p:cNvSpPr txBox="1"/>
          <p:nvPr/>
        </p:nvSpPr>
        <p:spPr>
          <a:xfrm>
            <a:off x="10606897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53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FBF999-E6E3-491F-8849-E7B42841A6BB}"/>
              </a:ext>
            </a:extLst>
          </p:cNvPr>
          <p:cNvSpPr txBox="1"/>
          <p:nvPr/>
        </p:nvSpPr>
        <p:spPr>
          <a:xfrm>
            <a:off x="10606897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48.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DE3723D-BCA0-4E06-A002-FED053B3D72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75832" y="4757200"/>
            <a:ext cx="1626661" cy="95847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CDE6B7B-AB7D-4EBF-A41B-7116F5CECD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701399" y="5776920"/>
            <a:ext cx="1575526" cy="94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0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sage Analysis – Package Taker consistently have heavier usage on data payload, minutes of voice and number of </a:t>
            </a:r>
            <a:r>
              <a:rPr lang="en-ID" sz="2400" dirty="0" err="1">
                <a:latin typeface="Google Sans" panose="020B0503030502040204" pitchFamily="34" charset="0"/>
              </a:rPr>
              <a:t>sm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Payload (Data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450469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nutes (Voice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8652204" y="1322598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SMS (</a:t>
            </a:r>
            <a:r>
              <a:rPr lang="en-US" sz="1600" b="1" dirty="0" err="1">
                <a:latin typeface="Google Sans" panose="020B0503030502040204" pitchFamily="34" charset="0"/>
              </a:rPr>
              <a:t>Trx</a:t>
            </a:r>
            <a:r>
              <a:rPr lang="en-US" sz="1600" b="1" dirty="0">
                <a:latin typeface="Google Sans" panose="020B0503030502040204" pitchFamily="34" charset="0"/>
              </a:rPr>
              <a:t>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726D29-E1DA-4136-B00D-3227F26BC8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117" y="1769554"/>
            <a:ext cx="2517714" cy="29032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670B02C-0B1B-45C9-90D7-A5B59D7A3F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1870" y="4774837"/>
            <a:ext cx="1499769" cy="8570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E720E1D-3BA0-404F-ACE3-BE3285A1D2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5766633"/>
            <a:ext cx="1499769" cy="88552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DF6C1E-AA76-4DA4-AA33-E94D9EC3D957}"/>
              </a:ext>
            </a:extLst>
          </p:cNvPr>
          <p:cNvSpPr txBox="1"/>
          <p:nvPr/>
        </p:nvSpPr>
        <p:spPr>
          <a:xfrm>
            <a:off x="282912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398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BEF9AE-7467-4CD0-89F0-E54D8C91F9A3}"/>
              </a:ext>
            </a:extLst>
          </p:cNvPr>
          <p:cNvSpPr txBox="1"/>
          <p:nvPr/>
        </p:nvSpPr>
        <p:spPr>
          <a:xfrm>
            <a:off x="282912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2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99A987-490A-4F5B-AAFB-7FF0D2A84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10210" y="1760726"/>
            <a:ext cx="2385483" cy="29032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5C67DB-7CE6-4BE4-B8B4-B57302107C7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53068" y="4774838"/>
            <a:ext cx="1499769" cy="8613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D2DFA61-1696-4D8E-ACDB-2F53BC1FBA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53068" y="5771425"/>
            <a:ext cx="1499769" cy="88073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57DF616-F665-445B-8089-8D6DC5540AFC}"/>
              </a:ext>
            </a:extLst>
          </p:cNvPr>
          <p:cNvSpPr txBox="1"/>
          <p:nvPr/>
        </p:nvSpPr>
        <p:spPr>
          <a:xfrm>
            <a:off x="6995693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69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B4D1A9-74CE-4575-A53B-BC7A2A3681F7}"/>
              </a:ext>
            </a:extLst>
          </p:cNvPr>
          <p:cNvSpPr txBox="1"/>
          <p:nvPr/>
        </p:nvSpPr>
        <p:spPr>
          <a:xfrm>
            <a:off x="6995693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7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A5F46F-27C1-4C79-AC8D-0DC184CE793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42654" y="1772062"/>
            <a:ext cx="2270860" cy="290320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41F7CB8-7B53-4F81-8743-A6C8D0CD17F8}"/>
              </a:ext>
            </a:extLst>
          </p:cNvPr>
          <p:cNvSpPr txBox="1"/>
          <p:nvPr/>
        </p:nvSpPr>
        <p:spPr>
          <a:xfrm>
            <a:off x="1095148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20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F4D9DC-9F36-40BC-BA55-B8CC47468809}"/>
              </a:ext>
            </a:extLst>
          </p:cNvPr>
          <p:cNvSpPr txBox="1"/>
          <p:nvPr/>
        </p:nvSpPr>
        <p:spPr>
          <a:xfrm>
            <a:off x="1095148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3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EE25A8C-A779-4585-8664-26AC2E7EC0D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86838" y="4737424"/>
            <a:ext cx="1509938" cy="89986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52C884D-4F3F-4574-A108-3AD6798D1A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97006" y="5752300"/>
            <a:ext cx="1499770" cy="89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603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Length of Stay – Package Taker relatively have skew to younger stay in </a:t>
            </a:r>
            <a:r>
              <a:rPr lang="en-ID" sz="2400" dirty="0" err="1">
                <a:latin typeface="Google Sans" panose="020B0503030502040204" pitchFamily="34" charset="0"/>
              </a:rPr>
              <a:t>Telkomsel</a:t>
            </a:r>
            <a:r>
              <a:rPr lang="en-ID" sz="2400" dirty="0">
                <a:latin typeface="Google Sans" panose="020B0503030502040204" pitchFamily="34" charset="0"/>
              </a:rPr>
              <a:t> as the 3</a:t>
            </a:r>
            <a:r>
              <a:rPr lang="en-ID" sz="2400" baseline="30000" dirty="0">
                <a:latin typeface="Google Sans" panose="020B0503030502040204" pitchFamily="34" charset="0"/>
              </a:rPr>
              <a:t>rd</a:t>
            </a:r>
            <a:r>
              <a:rPr lang="en-ID" sz="2400" dirty="0">
                <a:latin typeface="Google Sans" panose="020B0503030502040204" pitchFamily="34" charset="0"/>
              </a:rPr>
              <a:t> Quartile is 5 yea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47A070-BBA0-43DD-AB7E-F24ECDECBEB7}"/>
              </a:ext>
            </a:extLst>
          </p:cNvPr>
          <p:cNvSpPr txBox="1"/>
          <p:nvPr/>
        </p:nvSpPr>
        <p:spPr>
          <a:xfrm>
            <a:off x="9429750" y="2460821"/>
            <a:ext cx="110716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237477-8131-42AD-9899-C3F2623C9DA2}"/>
              </a:ext>
            </a:extLst>
          </p:cNvPr>
          <p:cNvSpPr txBox="1"/>
          <p:nvPr/>
        </p:nvSpPr>
        <p:spPr>
          <a:xfrm>
            <a:off x="9429750" y="1914195"/>
            <a:ext cx="111442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D2ACF35-B2D7-4CDD-BFF5-7430B64528C5}"/>
              </a:ext>
            </a:extLst>
          </p:cNvPr>
          <p:cNvSpPr txBox="1"/>
          <p:nvPr/>
        </p:nvSpPr>
        <p:spPr>
          <a:xfrm>
            <a:off x="9437009" y="3069002"/>
            <a:ext cx="1107165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6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95225F5-478B-41D9-8B26-37A138D96200}"/>
              </a:ext>
            </a:extLst>
          </p:cNvPr>
          <p:cNvSpPr txBox="1"/>
          <p:nvPr/>
        </p:nvSpPr>
        <p:spPr>
          <a:xfrm>
            <a:off x="9437009" y="4567102"/>
            <a:ext cx="110716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CCBD3F-EE68-4C4A-A6E0-1D754C3549B9}"/>
              </a:ext>
            </a:extLst>
          </p:cNvPr>
          <p:cNvSpPr txBox="1"/>
          <p:nvPr/>
        </p:nvSpPr>
        <p:spPr>
          <a:xfrm>
            <a:off x="9437009" y="4020476"/>
            <a:ext cx="111442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1C4B7C-D458-4729-A335-5CA5166815DD}"/>
              </a:ext>
            </a:extLst>
          </p:cNvPr>
          <p:cNvSpPr txBox="1"/>
          <p:nvPr/>
        </p:nvSpPr>
        <p:spPr>
          <a:xfrm>
            <a:off x="9444268" y="5175283"/>
            <a:ext cx="1107165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5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BCF541-0E97-4CF2-97E9-A94FDC72F5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281" y="1914195"/>
            <a:ext cx="6767470" cy="39989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1E3670-6977-4C64-9E0B-56893496C9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6925" y="1790700"/>
            <a:ext cx="1797256" cy="412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80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3770584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PREPAR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52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8747113-A462-4D6A-B91C-9124045150D8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Pipeline and Integration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268D35F-3AD6-41D4-B040-8223167B98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B147583-B5EA-4AA0-8D8B-3EFE0D90938B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D4D2C9D-87D1-4F1D-A8A4-4F9C2A58F9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277975"/>
            <a:ext cx="5273039" cy="521005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AAAB992-9BC9-45E5-818C-B18C6BAD7244}"/>
              </a:ext>
            </a:extLst>
          </p:cNvPr>
          <p:cNvSpPr txBox="1"/>
          <p:nvPr/>
        </p:nvSpPr>
        <p:spPr>
          <a:xfrm>
            <a:off x="1716956" y="1101352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Source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MySQL</a:t>
            </a:r>
            <a:endParaRPr lang="en-US" sz="5400" b="1" dirty="0">
              <a:latin typeface="Google Sans" panose="020B0503030502040204" pitchFamily="34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66AFF0D-3292-4701-819E-C60FB7C9E474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2799038" y="1870793"/>
            <a:ext cx="0" cy="433901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804BD25-D7AC-4471-92D4-AFAE19ED067A}"/>
              </a:ext>
            </a:extLst>
          </p:cNvPr>
          <p:cNvSpPr txBox="1"/>
          <p:nvPr/>
        </p:nvSpPr>
        <p:spPr>
          <a:xfrm>
            <a:off x="1716956" y="2304694"/>
            <a:ext cx="2164164" cy="17543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5 Tables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mytelkomsel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cp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recharg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aselin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usage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A12DBD-8EB4-49D8-B5D0-92432A8F7F76}"/>
              </a:ext>
            </a:extLst>
          </p:cNvPr>
          <p:cNvSpPr txBox="1"/>
          <p:nvPr/>
        </p:nvSpPr>
        <p:spPr>
          <a:xfrm>
            <a:off x="1716956" y="4413000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ble Integration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1F48578-DC8A-43AE-A921-5BAAEE008C3F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2799038" y="4059020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715C2B3-4BBD-4D18-83D5-D06223F3D404}"/>
              </a:ext>
            </a:extLst>
          </p:cNvPr>
          <p:cNvSpPr txBox="1"/>
          <p:nvPr/>
        </p:nvSpPr>
        <p:spPr>
          <a:xfrm>
            <a:off x="1691514" y="5536421"/>
            <a:ext cx="2164164" cy="7694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Cleaning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_clea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2057620-ED24-4014-AEFE-01FEBD3AA696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2773596" y="5182441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BB90CA8-A917-4C53-821B-2DC2C8CCB0FD}"/>
              </a:ext>
            </a:extLst>
          </p:cNvPr>
          <p:cNvSpPr txBox="1"/>
          <p:nvPr/>
        </p:nvSpPr>
        <p:spPr>
          <a:xfrm>
            <a:off x="3830237" y="5536421"/>
            <a:ext cx="1747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move </a:t>
            </a:r>
            <a:r>
              <a:rPr lang="en-ID" sz="1200" dirty="0" err="1">
                <a:latin typeface="Google Sans" panose="020B0503030502040204" pitchFamily="34" charset="0"/>
              </a:rPr>
              <a:t>msisdn</a:t>
            </a:r>
            <a:r>
              <a:rPr lang="en-ID" sz="1200" dirty="0">
                <a:latin typeface="Google Sans" panose="020B0503030502040204" pitchFamily="34" charset="0"/>
              </a:rPr>
              <a:t> with zero usage, </a:t>
            </a:r>
            <a:r>
              <a:rPr lang="en-ID" sz="1200" b="1" dirty="0">
                <a:latin typeface="Google Sans" panose="020B0503030502040204" pitchFamily="34" charset="0"/>
              </a:rPr>
              <a:t>achieve 1.31 million MSISDN</a:t>
            </a:r>
            <a:r>
              <a:rPr lang="en-ID" sz="1200" dirty="0">
                <a:latin typeface="Google Sans" panose="020B0503030502040204" pitchFamily="34" charset="0"/>
              </a:rPr>
              <a:t> of cleaned dataset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6134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12688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the Correlation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F42FC0-8FB0-4A1A-BD1E-0CDAF07196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6701" y="998729"/>
            <a:ext cx="10318233" cy="544461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A882C21-6791-419B-9203-9ECCF79E1E36}"/>
              </a:ext>
            </a:extLst>
          </p:cNvPr>
          <p:cNvSpPr txBox="1"/>
          <p:nvPr/>
        </p:nvSpPr>
        <p:spPr>
          <a:xfrm>
            <a:off x="1286701" y="3848468"/>
            <a:ext cx="2789999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Based on the exploration on </a:t>
            </a:r>
            <a:r>
              <a:rPr lang="en-ID" sz="1200" b="1" dirty="0">
                <a:latin typeface="Google Sans" panose="020B0503030502040204" pitchFamily="34" charset="0"/>
              </a:rPr>
              <a:t>correlation, </a:t>
            </a:r>
            <a:r>
              <a:rPr lang="en-ID" sz="1200" dirty="0">
                <a:latin typeface="Google Sans" panose="020B0503030502040204" pitchFamily="34" charset="0"/>
              </a:rPr>
              <a:t>variable from data usage such as </a:t>
            </a:r>
            <a:r>
              <a:rPr lang="en-ID" sz="1200" b="1" dirty="0">
                <a:latin typeface="Google Sans" panose="020B0503030502040204" pitchFamily="34" charset="0"/>
              </a:rPr>
              <a:t>payload, revenue data package, and revenue broadband</a:t>
            </a:r>
            <a:r>
              <a:rPr lang="en-ID" sz="1200" dirty="0">
                <a:latin typeface="Google Sans" panose="020B0503030502040204" pitchFamily="34" charset="0"/>
              </a:rPr>
              <a:t> have the highest absolute correlation to flag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831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Feature Extraction and Engineering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Google Shape;325;p30">
            <a:extLst>
              <a:ext uri="{FF2B5EF4-FFF2-40B4-BE49-F238E27FC236}">
                <a16:creationId xmlns:a16="http://schemas.microsoft.com/office/drawing/2014/main" id="{B086C8B7-7BFA-438B-A4F3-B0502A6165D9}"/>
              </a:ext>
            </a:extLst>
          </p:cNvPr>
          <p:cNvSpPr txBox="1">
            <a:spLocks/>
          </p:cNvSpPr>
          <p:nvPr/>
        </p:nvSpPr>
        <p:spPr>
          <a:xfrm>
            <a:off x="7783945" y="1743974"/>
            <a:ext cx="4524844" cy="1286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mo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/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ratio 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revenue / total revenue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* los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venue/recharge ratio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charge - revenue rati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8E2B1D-1ACF-4495-87EE-0C0000D99FFB}"/>
              </a:ext>
            </a:extLst>
          </p:cNvPr>
          <p:cNvSpPr txBox="1"/>
          <p:nvPr/>
        </p:nvSpPr>
        <p:spPr>
          <a:xfrm>
            <a:off x="923157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One Hot Encod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A3253C-0E71-467E-9976-3C96D4554DA4}"/>
              </a:ext>
            </a:extLst>
          </p:cNvPr>
          <p:cNvSpPr txBox="1"/>
          <p:nvPr/>
        </p:nvSpPr>
        <p:spPr>
          <a:xfrm>
            <a:off x="4475982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ssing Value Handl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D03DEB-F4AE-43A9-A242-AB8FC2A4A160}"/>
              </a:ext>
            </a:extLst>
          </p:cNvPr>
          <p:cNvSpPr txBox="1"/>
          <p:nvPr/>
        </p:nvSpPr>
        <p:spPr>
          <a:xfrm>
            <a:off x="923157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18EF7D-5ED8-4246-8AB1-444FAF4BBC05}"/>
              </a:ext>
            </a:extLst>
          </p:cNvPr>
          <p:cNvSpPr txBox="1"/>
          <p:nvPr/>
        </p:nvSpPr>
        <p:spPr>
          <a:xfrm>
            <a:off x="4475982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Binning and Log Valu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0A418F-C14F-47FC-B7E9-2332C17A8187}"/>
              </a:ext>
            </a:extLst>
          </p:cNvPr>
          <p:cNvSpPr txBox="1"/>
          <p:nvPr/>
        </p:nvSpPr>
        <p:spPr>
          <a:xfrm>
            <a:off x="8028807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atio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756183-A156-48C1-BB4A-4C89C2C60B47}"/>
              </a:ext>
            </a:extLst>
          </p:cNvPr>
          <p:cNvSpPr/>
          <p:nvPr/>
        </p:nvSpPr>
        <p:spPr>
          <a:xfrm>
            <a:off x="770929" y="1836963"/>
            <a:ext cx="3019425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One Hot Encoding  on columns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 and reg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9835A-A50B-40CC-99CA-F8FB7798A188}"/>
              </a:ext>
            </a:extLst>
          </p:cNvPr>
          <p:cNvSpPr/>
          <p:nvPr/>
        </p:nvSpPr>
        <p:spPr>
          <a:xfrm>
            <a:off x="4008458" y="1826076"/>
            <a:ext cx="3282152" cy="718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11150">
              <a:lnSpc>
                <a:spcPct val="115000"/>
              </a:lnSpc>
              <a:buClr>
                <a:srgbClr val="FFFFFF"/>
              </a:buClr>
              <a:buSzPts val="1300"/>
              <a:buFont typeface="Lato"/>
              <a:buAutoNum type="alphaLcPeriod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Impute missing value on ‘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’ with string ‘Missing Value’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F7E20-00BE-42BE-93E9-36C9B0A7C35D}"/>
              </a:ext>
            </a:extLst>
          </p:cNvPr>
          <p:cNvSpPr/>
          <p:nvPr/>
        </p:nvSpPr>
        <p:spPr>
          <a:xfrm>
            <a:off x="4341833" y="254467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Drop columns that only contain 0 valu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6F6E2-AE92-4B08-A3BE-0870CAB22888}"/>
              </a:ext>
            </a:extLst>
          </p:cNvPr>
          <p:cNvSpPr/>
          <p:nvPr/>
        </p:nvSpPr>
        <p:spPr>
          <a:xfrm>
            <a:off x="819775" y="403072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flag whether customer have voice,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sms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, data transac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9D6D67-5A38-45DB-84A1-5C5801A04AA9}"/>
              </a:ext>
            </a:extLst>
          </p:cNvPr>
          <p:cNvSpPr/>
          <p:nvPr/>
        </p:nvSpPr>
        <p:spPr>
          <a:xfrm>
            <a:off x="4238452" y="4079240"/>
            <a:ext cx="30521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log revenue due to large skewness on revenue data distribution</a:t>
            </a:r>
          </a:p>
          <a:p>
            <a:pPr marL="146050" lvl="0">
              <a:buClr>
                <a:srgbClr val="FFFFFF"/>
              </a:buClr>
              <a:buSzPts val="1300"/>
              <a:defRPr/>
            </a:pPr>
            <a:endParaRPr lang="en-US" sz="1200" kern="0" dirty="0">
              <a:latin typeface="Google Sans" panose="020B0503030502040204" pitchFamily="34" charset="0"/>
              <a:sym typeface="Lato"/>
            </a:endParaRPr>
          </a:p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 Binning revenue on interval (250k,500k,1M,2.5M,5M,10M,15M,20M)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C4DA8085-2EDF-4988-A9E0-B66EE36C7FA1}"/>
              </a:ext>
            </a:extLst>
          </p:cNvPr>
          <p:cNvSpPr/>
          <p:nvPr/>
        </p:nvSpPr>
        <p:spPr>
          <a:xfrm>
            <a:off x="716395" y="191997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19B77E40-D51F-44DD-86C5-F71DFCE07E76}"/>
              </a:ext>
            </a:extLst>
          </p:cNvPr>
          <p:cNvSpPr/>
          <p:nvPr/>
        </p:nvSpPr>
        <p:spPr>
          <a:xfrm>
            <a:off x="4238452" y="191658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F73E8B6C-F743-408D-9876-1C239A0C6115}"/>
              </a:ext>
            </a:extLst>
          </p:cNvPr>
          <p:cNvSpPr/>
          <p:nvPr/>
        </p:nvSpPr>
        <p:spPr>
          <a:xfrm>
            <a:off x="4238452" y="259749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09E7E8A6-A516-4FB5-9C18-6C6807718D6F}"/>
              </a:ext>
            </a:extLst>
          </p:cNvPr>
          <p:cNvSpPr/>
          <p:nvPr/>
        </p:nvSpPr>
        <p:spPr>
          <a:xfrm>
            <a:off x="687052" y="407924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294D8340-92DF-4142-BE9C-9FE10D90E2F4}"/>
              </a:ext>
            </a:extLst>
          </p:cNvPr>
          <p:cNvSpPr/>
          <p:nvPr/>
        </p:nvSpPr>
        <p:spPr>
          <a:xfrm>
            <a:off x="7680564" y="189345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9225E937-7ED8-4911-89C1-2C2CEC33BA02}"/>
              </a:ext>
            </a:extLst>
          </p:cNvPr>
          <p:cNvSpPr/>
          <p:nvPr/>
        </p:nvSpPr>
        <p:spPr>
          <a:xfrm>
            <a:off x="7680564" y="217032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07C533DE-3A00-41D2-AF11-ACBB728351FA}"/>
              </a:ext>
            </a:extLst>
          </p:cNvPr>
          <p:cNvSpPr/>
          <p:nvPr/>
        </p:nvSpPr>
        <p:spPr>
          <a:xfrm>
            <a:off x="7680564" y="244673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123EE600-FBC4-415C-98E7-BC5EB75F22B0}"/>
              </a:ext>
            </a:extLst>
          </p:cNvPr>
          <p:cNvSpPr/>
          <p:nvPr/>
        </p:nvSpPr>
        <p:spPr>
          <a:xfrm>
            <a:off x="7680564" y="272359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B7E3111-DC2F-4EAB-ABD2-2D879355F399}"/>
              </a:ext>
            </a:extLst>
          </p:cNvPr>
          <p:cNvSpPr/>
          <p:nvPr/>
        </p:nvSpPr>
        <p:spPr>
          <a:xfrm>
            <a:off x="7680563" y="3010066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6B6CA313-AD36-410E-B493-681C3101463C}"/>
              </a:ext>
            </a:extLst>
          </p:cNvPr>
          <p:cNvSpPr/>
          <p:nvPr/>
        </p:nvSpPr>
        <p:spPr>
          <a:xfrm>
            <a:off x="4135071" y="410873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039AF94-93BE-44A2-9C61-C1A36FFF40E4}"/>
              </a:ext>
            </a:extLst>
          </p:cNvPr>
          <p:cNvSpPr/>
          <p:nvPr/>
        </p:nvSpPr>
        <p:spPr>
          <a:xfrm>
            <a:off x="4135071" y="478965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95E0110-65CD-4BA7-95D8-69C9E8C6560A}"/>
              </a:ext>
            </a:extLst>
          </p:cNvPr>
          <p:cNvSpPr txBox="1"/>
          <p:nvPr/>
        </p:nvSpPr>
        <p:spPr>
          <a:xfrm>
            <a:off x="7978614" y="3764898"/>
            <a:ext cx="261974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otal Features after Feature Engineering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134</a:t>
            </a:r>
            <a:endParaRPr lang="en-US" sz="3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2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11;p10">
            <a:extLst>
              <a:ext uri="{FF2B5EF4-FFF2-40B4-BE49-F238E27FC236}">
                <a16:creationId xmlns:a16="http://schemas.microsoft.com/office/drawing/2014/main" id="{90F9D1EF-8BD8-49E6-AA82-A7E8AC277FE5}"/>
              </a:ext>
            </a:extLst>
          </p:cNvPr>
          <p:cNvSpPr/>
          <p:nvPr/>
        </p:nvSpPr>
        <p:spPr>
          <a:xfrm>
            <a:off x="303175" y="5006778"/>
            <a:ext cx="4164300" cy="14435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712;p10">
            <a:extLst>
              <a:ext uri="{FF2B5EF4-FFF2-40B4-BE49-F238E27FC236}">
                <a16:creationId xmlns:a16="http://schemas.microsoft.com/office/drawing/2014/main" id="{4D189D22-9F1D-4933-9A9B-9761BA97CF0B}"/>
              </a:ext>
            </a:extLst>
          </p:cNvPr>
          <p:cNvSpPr/>
          <p:nvPr/>
        </p:nvSpPr>
        <p:spPr>
          <a:xfrm>
            <a:off x="4556825" y="1291475"/>
            <a:ext cx="4432500" cy="2247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713;p10">
            <a:extLst>
              <a:ext uri="{FF2B5EF4-FFF2-40B4-BE49-F238E27FC236}">
                <a16:creationId xmlns:a16="http://schemas.microsoft.com/office/drawing/2014/main" id="{C5846D96-3286-49E7-A7F6-5D5B4CA8A8EF}"/>
              </a:ext>
            </a:extLst>
          </p:cNvPr>
          <p:cNvSpPr/>
          <p:nvPr/>
        </p:nvSpPr>
        <p:spPr>
          <a:xfrm>
            <a:off x="5272600" y="1520138"/>
            <a:ext cx="3090300" cy="1760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714;p10">
            <a:extLst>
              <a:ext uri="{FF2B5EF4-FFF2-40B4-BE49-F238E27FC236}">
                <a16:creationId xmlns:a16="http://schemas.microsoft.com/office/drawing/2014/main" id="{A3937FA2-07BE-4C1B-BE97-30DDA1430598}"/>
              </a:ext>
            </a:extLst>
          </p:cNvPr>
          <p:cNvSpPr/>
          <p:nvPr/>
        </p:nvSpPr>
        <p:spPr>
          <a:xfrm>
            <a:off x="9075575" y="5239450"/>
            <a:ext cx="2757600" cy="1210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715;p10">
            <a:extLst>
              <a:ext uri="{FF2B5EF4-FFF2-40B4-BE49-F238E27FC236}">
                <a16:creationId xmlns:a16="http://schemas.microsoft.com/office/drawing/2014/main" id="{2E244311-9F15-493F-832B-3687C81C821D}"/>
              </a:ext>
            </a:extLst>
          </p:cNvPr>
          <p:cNvSpPr txBox="1"/>
          <p:nvPr/>
        </p:nvSpPr>
        <p:spPr>
          <a:xfrm>
            <a:off x="9075675" y="5242489"/>
            <a:ext cx="1654200" cy="12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C344C"/>
              </a:buClr>
              <a:buSzPts val="1500"/>
              <a:buFont typeface="Arial"/>
              <a:buNone/>
            </a:pPr>
            <a:r>
              <a:rPr lang="id-ID" sz="1000" b="1" i="0" u="none" strike="noStrike" cap="none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By :</a:t>
            </a:r>
            <a:endParaRPr sz="1000" b="1" i="0" u="none" strike="noStrike" cap="none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9" name="Google Shape;716;p10">
            <a:extLst>
              <a:ext uri="{FF2B5EF4-FFF2-40B4-BE49-F238E27FC236}">
                <a16:creationId xmlns:a16="http://schemas.microsoft.com/office/drawing/2014/main" id="{116282CE-19A9-42B3-BA42-A6565AB6CCE0}"/>
              </a:ext>
            </a:extLst>
          </p:cNvPr>
          <p:cNvSpPr/>
          <p:nvPr/>
        </p:nvSpPr>
        <p:spPr>
          <a:xfrm>
            <a:off x="9075675" y="1291475"/>
            <a:ext cx="2757600" cy="3798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" name="Google Shape;717;p10">
            <a:extLst>
              <a:ext uri="{FF2B5EF4-FFF2-40B4-BE49-F238E27FC236}">
                <a16:creationId xmlns:a16="http://schemas.microsoft.com/office/drawing/2014/main" id="{5C708FFA-2EB9-41E6-9E46-E8FD08713670}"/>
              </a:ext>
            </a:extLst>
          </p:cNvPr>
          <p:cNvGrpSpPr/>
          <p:nvPr/>
        </p:nvGrpSpPr>
        <p:grpSpPr>
          <a:xfrm>
            <a:off x="46" y="6763988"/>
            <a:ext cx="12191905" cy="157064"/>
            <a:chOff x="1780872" y="5229200"/>
            <a:chExt cx="5589541" cy="72008"/>
          </a:xfrm>
          <a:solidFill>
            <a:srgbClr val="FF0000"/>
          </a:solidFill>
        </p:grpSpPr>
        <p:sp>
          <p:nvSpPr>
            <p:cNvPr id="11" name="Google Shape;718;p10">
              <a:extLst>
                <a:ext uri="{FF2B5EF4-FFF2-40B4-BE49-F238E27FC236}">
                  <a16:creationId xmlns:a16="http://schemas.microsoft.com/office/drawing/2014/main" id="{7A4CCBAF-EBA4-48C2-ADC0-580FD566894B}"/>
                </a:ext>
              </a:extLst>
            </p:cNvPr>
            <p:cNvSpPr/>
            <p:nvPr/>
          </p:nvSpPr>
          <p:spPr>
            <a:xfrm>
              <a:off x="3177238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719;p10">
              <a:extLst>
                <a:ext uri="{FF2B5EF4-FFF2-40B4-BE49-F238E27FC236}">
                  <a16:creationId xmlns:a16="http://schemas.microsoft.com/office/drawing/2014/main" id="{0424947E-40B8-4D79-9BD5-836035FD181C}"/>
                </a:ext>
              </a:extLst>
            </p:cNvPr>
            <p:cNvSpPr/>
            <p:nvPr/>
          </p:nvSpPr>
          <p:spPr>
            <a:xfrm>
              <a:off x="4573604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20;p10">
              <a:extLst>
                <a:ext uri="{FF2B5EF4-FFF2-40B4-BE49-F238E27FC236}">
                  <a16:creationId xmlns:a16="http://schemas.microsoft.com/office/drawing/2014/main" id="{331BBF68-525D-4AC4-A15B-6C4ED119397F}"/>
                </a:ext>
              </a:extLst>
            </p:cNvPr>
            <p:cNvSpPr/>
            <p:nvPr/>
          </p:nvSpPr>
          <p:spPr>
            <a:xfrm>
              <a:off x="59699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721;p10">
              <a:extLst>
                <a:ext uri="{FF2B5EF4-FFF2-40B4-BE49-F238E27FC236}">
                  <a16:creationId xmlns:a16="http://schemas.microsoft.com/office/drawing/2014/main" id="{F0F78ACA-589F-413B-985C-C18AA559A8E1}"/>
                </a:ext>
              </a:extLst>
            </p:cNvPr>
            <p:cNvSpPr/>
            <p:nvPr/>
          </p:nvSpPr>
          <p:spPr>
            <a:xfrm>
              <a:off x="17808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" name="Google Shape;722;p10">
            <a:extLst>
              <a:ext uri="{FF2B5EF4-FFF2-40B4-BE49-F238E27FC236}">
                <a16:creationId xmlns:a16="http://schemas.microsoft.com/office/drawing/2014/main" id="{086DE731-A81A-425A-BF4A-FA7E386B3550}"/>
              </a:ext>
            </a:extLst>
          </p:cNvPr>
          <p:cNvSpPr/>
          <p:nvPr/>
        </p:nvSpPr>
        <p:spPr>
          <a:xfrm>
            <a:off x="4566975" y="4158400"/>
            <a:ext cx="4432500" cy="22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725;p10">
            <a:extLst>
              <a:ext uri="{FF2B5EF4-FFF2-40B4-BE49-F238E27FC236}">
                <a16:creationId xmlns:a16="http://schemas.microsoft.com/office/drawing/2014/main" id="{FB5018EE-E8F7-4C57-9C8A-A44CD3C4202F}"/>
              </a:ext>
            </a:extLst>
          </p:cNvPr>
          <p:cNvSpPr/>
          <p:nvPr/>
        </p:nvSpPr>
        <p:spPr>
          <a:xfrm>
            <a:off x="303175" y="3193949"/>
            <a:ext cx="4164300" cy="137678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724;p10">
            <a:extLst>
              <a:ext uri="{FF2B5EF4-FFF2-40B4-BE49-F238E27FC236}">
                <a16:creationId xmlns:a16="http://schemas.microsoft.com/office/drawing/2014/main" id="{CFA46BD7-4349-4F9F-9B36-13EF282EDE0F}"/>
              </a:ext>
            </a:extLst>
          </p:cNvPr>
          <p:cNvSpPr/>
          <p:nvPr/>
        </p:nvSpPr>
        <p:spPr>
          <a:xfrm>
            <a:off x="303275" y="1291474"/>
            <a:ext cx="4167300" cy="139324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729;p10">
            <a:extLst>
              <a:ext uri="{FF2B5EF4-FFF2-40B4-BE49-F238E27FC236}">
                <a16:creationId xmlns:a16="http://schemas.microsoft.com/office/drawing/2014/main" id="{40350BA1-C2DD-47E8-A213-8B8AF539B61A}"/>
              </a:ext>
            </a:extLst>
          </p:cNvPr>
          <p:cNvSpPr txBox="1"/>
          <p:nvPr/>
        </p:nvSpPr>
        <p:spPr>
          <a:xfrm>
            <a:off x="914893" y="4722985"/>
            <a:ext cx="1025700" cy="2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000" b="1" i="0" u="none" strike="noStrike" cap="none" dirty="0">
              <a:solidFill>
                <a:srgbClr val="000000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9" name="Google Shape;771;p10">
            <a:extLst>
              <a:ext uri="{FF2B5EF4-FFF2-40B4-BE49-F238E27FC236}">
                <a16:creationId xmlns:a16="http://schemas.microsoft.com/office/drawing/2014/main" id="{C1A2F989-0295-4599-B238-FC7515F9596A}"/>
              </a:ext>
            </a:extLst>
          </p:cNvPr>
          <p:cNvSpPr txBox="1"/>
          <p:nvPr/>
        </p:nvSpPr>
        <p:spPr>
          <a:xfrm>
            <a:off x="462950" y="3695735"/>
            <a:ext cx="4164300" cy="621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Only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41.77% (547 K subscriber) takers 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from 1.2 Mio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 who use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Telkomsel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number</a:t>
            </a:r>
          </a:p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How to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identify takers from potential </a:t>
            </a:r>
            <a:r>
              <a:rPr lang="en-US" sz="1200" b="1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?</a:t>
            </a:r>
          </a:p>
          <a:p>
            <a:pPr marL="171450" lvl="0" indent="-171450">
              <a:lnSpc>
                <a:spcPct val="150000"/>
              </a:lnSpc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How much </a:t>
            </a:r>
            <a:r>
              <a:rPr lang="en-US" sz="1200" b="1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affordable price for combo package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for </a:t>
            </a:r>
            <a:r>
              <a:rPr lang="en-US" sz="1200" dirty="0" err="1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200" dirty="0">
                <a:solidFill>
                  <a:srgbClr val="434343"/>
                </a:solidFill>
                <a:latin typeface="Google Sans" panose="020B0503030502040204" pitchFamily="34" charset="0"/>
                <a:ea typeface="Lato"/>
                <a:cs typeface="Arial" panose="020B0604020202020204" pitchFamily="34" charset="0"/>
                <a:sym typeface="Lato"/>
              </a:rPr>
              <a:t> driver?</a:t>
            </a: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200" b="1" i="0" u="none" strike="noStrike" cap="none" dirty="0">
              <a:solidFill>
                <a:srgbClr val="434343"/>
              </a:solidFill>
              <a:latin typeface="Google Sans" panose="020B0503030502040204" pitchFamily="34" charset="0"/>
              <a:ea typeface="Lato"/>
              <a:cs typeface="Lato"/>
              <a:sym typeface="Lato"/>
            </a:endParaRPr>
          </a:p>
        </p:txBody>
      </p:sp>
      <p:sp>
        <p:nvSpPr>
          <p:cNvPr id="20" name="Google Shape;783;p10">
            <a:extLst>
              <a:ext uri="{FF2B5EF4-FFF2-40B4-BE49-F238E27FC236}">
                <a16:creationId xmlns:a16="http://schemas.microsoft.com/office/drawing/2014/main" id="{5DFE13A6-B138-417A-AC01-EE6E1E702FA3}"/>
              </a:ext>
            </a:extLst>
          </p:cNvPr>
          <p:cNvSpPr/>
          <p:nvPr/>
        </p:nvSpPr>
        <p:spPr>
          <a:xfrm>
            <a:off x="-5175" y="-41625"/>
            <a:ext cx="12192000" cy="6717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784;p10">
            <a:extLst>
              <a:ext uri="{FF2B5EF4-FFF2-40B4-BE49-F238E27FC236}">
                <a16:creationId xmlns:a16="http://schemas.microsoft.com/office/drawing/2014/main" id="{C2EF24CF-44F3-47A6-AC83-E1033B5674A7}"/>
              </a:ext>
            </a:extLst>
          </p:cNvPr>
          <p:cNvSpPr txBox="1"/>
          <p:nvPr/>
        </p:nvSpPr>
        <p:spPr>
          <a:xfrm>
            <a:off x="182999" y="143349"/>
            <a:ext cx="11650175" cy="358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Executive Summary of </a:t>
            </a:r>
            <a:r>
              <a:rPr lang="en-US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DSA -Ride Hailing Internet Package for Driver</a:t>
            </a: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  </a:t>
            </a: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" name="Google Shape;785;p10">
            <a:extLst>
              <a:ext uri="{FF2B5EF4-FFF2-40B4-BE49-F238E27FC236}">
                <a16:creationId xmlns:a16="http://schemas.microsoft.com/office/drawing/2014/main" id="{58215BA1-8B9F-463E-BBBA-A1408C30BA31}"/>
              </a:ext>
            </a:extLst>
          </p:cNvPr>
          <p:cNvSpPr txBox="1"/>
          <p:nvPr/>
        </p:nvSpPr>
        <p:spPr>
          <a:xfrm>
            <a:off x="5074050" y="825644"/>
            <a:ext cx="30903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posed Solutions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3" name="Google Shape;786;p10">
            <a:extLst>
              <a:ext uri="{FF2B5EF4-FFF2-40B4-BE49-F238E27FC236}">
                <a16:creationId xmlns:a16="http://schemas.microsoft.com/office/drawing/2014/main" id="{8B974F1D-1B6B-47D3-A368-513D28755B9A}"/>
              </a:ext>
            </a:extLst>
          </p:cNvPr>
          <p:cNvSpPr txBox="1"/>
          <p:nvPr/>
        </p:nvSpPr>
        <p:spPr>
          <a:xfrm>
            <a:off x="852300" y="820518"/>
            <a:ext cx="3000000" cy="2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ackground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4" name="Google Shape;787;p10">
            <a:extLst>
              <a:ext uri="{FF2B5EF4-FFF2-40B4-BE49-F238E27FC236}">
                <a16:creationId xmlns:a16="http://schemas.microsoft.com/office/drawing/2014/main" id="{013D7DC9-7FC6-426E-89AC-098F63361874}"/>
              </a:ext>
            </a:extLst>
          </p:cNvPr>
          <p:cNvSpPr txBox="1"/>
          <p:nvPr/>
        </p:nvSpPr>
        <p:spPr>
          <a:xfrm>
            <a:off x="9547274" y="837508"/>
            <a:ext cx="2410800" cy="27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enefit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5" name="Google Shape;788;p10">
            <a:extLst>
              <a:ext uri="{FF2B5EF4-FFF2-40B4-BE49-F238E27FC236}">
                <a16:creationId xmlns:a16="http://schemas.microsoft.com/office/drawing/2014/main" id="{7DA3A88E-C558-4EFD-BF1D-0D3FCD71F9BC}"/>
              </a:ext>
            </a:extLst>
          </p:cNvPr>
          <p:cNvSpPr/>
          <p:nvPr/>
        </p:nvSpPr>
        <p:spPr>
          <a:xfrm flipH="1">
            <a:off x="487793" y="816266"/>
            <a:ext cx="364500" cy="332921"/>
          </a:xfrm>
          <a:custGeom>
            <a:avLst/>
            <a:gdLst/>
            <a:ahLst/>
            <a:cxnLst/>
            <a:rect l="l" t="t" r="r" b="b"/>
            <a:pathLst>
              <a:path w="3240000" h="3248012" extrusionOk="0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1" i="0" u="none" strike="noStrike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" name="Google Shape;789;p10">
            <a:extLst>
              <a:ext uri="{FF2B5EF4-FFF2-40B4-BE49-F238E27FC236}">
                <a16:creationId xmlns:a16="http://schemas.microsoft.com/office/drawing/2014/main" id="{B3C88E04-82DC-423C-82B2-59EBF419EE48}"/>
              </a:ext>
            </a:extLst>
          </p:cNvPr>
          <p:cNvGrpSpPr/>
          <p:nvPr/>
        </p:nvGrpSpPr>
        <p:grpSpPr>
          <a:xfrm>
            <a:off x="9183697" y="853094"/>
            <a:ext cx="363575" cy="275147"/>
            <a:chOff x="9017581" y="4660108"/>
            <a:chExt cx="1116632" cy="741037"/>
          </a:xfrm>
        </p:grpSpPr>
        <p:grpSp>
          <p:nvGrpSpPr>
            <p:cNvPr id="27" name="Google Shape;790;p10">
              <a:extLst>
                <a:ext uri="{FF2B5EF4-FFF2-40B4-BE49-F238E27FC236}">
                  <a16:creationId xmlns:a16="http://schemas.microsoft.com/office/drawing/2014/main" id="{906E7EC3-64A7-4D6E-999B-3066489443E3}"/>
                </a:ext>
              </a:extLst>
            </p:cNvPr>
            <p:cNvGrpSpPr/>
            <p:nvPr/>
          </p:nvGrpSpPr>
          <p:grpSpPr>
            <a:xfrm>
              <a:off x="9017581" y="4660108"/>
              <a:ext cx="1116632" cy="741037"/>
              <a:chOff x="8890504" y="1819747"/>
              <a:chExt cx="2424824" cy="1609200"/>
            </a:xfrm>
          </p:grpSpPr>
          <p:sp>
            <p:nvSpPr>
              <p:cNvPr id="29" name="Google Shape;791;p10">
                <a:extLst>
                  <a:ext uri="{FF2B5EF4-FFF2-40B4-BE49-F238E27FC236}">
                    <a16:creationId xmlns:a16="http://schemas.microsoft.com/office/drawing/2014/main" id="{FCE32BB2-E47B-47D5-ACF2-A6E63CDA83E3}"/>
                  </a:ext>
                </a:extLst>
              </p:cNvPr>
              <p:cNvSpPr/>
              <p:nvPr/>
            </p:nvSpPr>
            <p:spPr>
              <a:xfrm>
                <a:off x="8890504" y="1819747"/>
                <a:ext cx="2338500" cy="16092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Google Shape;792;p10">
                <a:extLst>
                  <a:ext uri="{FF2B5EF4-FFF2-40B4-BE49-F238E27FC236}">
                    <a16:creationId xmlns:a16="http://schemas.microsoft.com/office/drawing/2014/main" id="{6ECF5D51-7C41-4E07-8FAE-A277C3DC3770}"/>
                  </a:ext>
                </a:extLst>
              </p:cNvPr>
              <p:cNvSpPr/>
              <p:nvPr/>
            </p:nvSpPr>
            <p:spPr>
              <a:xfrm>
                <a:off x="9000521" y="1954285"/>
                <a:ext cx="2118600" cy="1340100"/>
              </a:xfrm>
              <a:prstGeom prst="roundRect">
                <a:avLst>
                  <a:gd name="adj" fmla="val 12614"/>
                </a:avLst>
              </a:prstGeom>
              <a:noFill/>
              <a:ln w="22225" cap="flat" cmpd="sng">
                <a:solidFill>
                  <a:srgbClr val="FFFFFF"/>
                </a:solidFill>
                <a:prstDash val="dash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793;p10">
                <a:extLst>
                  <a:ext uri="{FF2B5EF4-FFF2-40B4-BE49-F238E27FC236}">
                    <a16:creationId xmlns:a16="http://schemas.microsoft.com/office/drawing/2014/main" id="{69C2AF3A-B5BD-4ECC-8073-CB2B0D253A44}"/>
                  </a:ext>
                </a:extLst>
              </p:cNvPr>
              <p:cNvSpPr/>
              <p:nvPr/>
            </p:nvSpPr>
            <p:spPr>
              <a:xfrm>
                <a:off x="10616628" y="2383996"/>
                <a:ext cx="698700" cy="4809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 w="15875" cap="flat" cmpd="sng">
                <a:solidFill>
                  <a:srgbClr val="FFFFF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" name="Google Shape;794;p10">
                <a:extLst>
                  <a:ext uri="{FF2B5EF4-FFF2-40B4-BE49-F238E27FC236}">
                    <a16:creationId xmlns:a16="http://schemas.microsoft.com/office/drawing/2014/main" id="{F0D4A07A-7B72-4D11-A2DF-3DB6A25F5439}"/>
                  </a:ext>
                </a:extLst>
              </p:cNvPr>
              <p:cNvSpPr/>
              <p:nvPr/>
            </p:nvSpPr>
            <p:spPr>
              <a:xfrm>
                <a:off x="10732612" y="2479518"/>
                <a:ext cx="289800" cy="2898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8" name="Google Shape;795;p10">
              <a:extLst>
                <a:ext uri="{FF2B5EF4-FFF2-40B4-BE49-F238E27FC236}">
                  <a16:creationId xmlns:a16="http://schemas.microsoft.com/office/drawing/2014/main" id="{DADBF62C-FF3C-45EA-A38F-CF176FED52CD}"/>
                </a:ext>
              </a:extLst>
            </p:cNvPr>
            <p:cNvSpPr/>
            <p:nvPr/>
          </p:nvSpPr>
          <p:spPr>
            <a:xfrm>
              <a:off x="9415738" y="4824489"/>
              <a:ext cx="254544" cy="410445"/>
            </a:xfrm>
            <a:custGeom>
              <a:avLst/>
              <a:gdLst/>
              <a:ahLst/>
              <a:cxnLst/>
              <a:rect l="l" t="t" r="r" b="b"/>
              <a:pathLst>
                <a:path w="3636337" h="7138182" extrusionOk="0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33" name="Google Shape;796;p10">
            <a:extLst>
              <a:ext uri="{FF2B5EF4-FFF2-40B4-BE49-F238E27FC236}">
                <a16:creationId xmlns:a16="http://schemas.microsoft.com/office/drawing/2014/main" id="{EFA9D2FA-3AA3-415A-BF2B-A83DFE6A656D}"/>
              </a:ext>
            </a:extLst>
          </p:cNvPr>
          <p:cNvPicPr preferRelativeResize="0"/>
          <p:nvPr/>
        </p:nvPicPr>
        <p:blipFill rotWithShape="1">
          <a:blip r:embed="rId2">
            <a:alphaModFix/>
            <a:duotone>
              <a:prstClr val="black"/>
              <a:srgbClr val="FF0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10439" y="761443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797;p10">
            <a:extLst>
              <a:ext uri="{FF2B5EF4-FFF2-40B4-BE49-F238E27FC236}">
                <a16:creationId xmlns:a16="http://schemas.microsoft.com/office/drawing/2014/main" id="{91E3DC3B-2776-4A7E-AAC4-BC443FDD1255}"/>
              </a:ext>
            </a:extLst>
          </p:cNvPr>
          <p:cNvSpPr txBox="1"/>
          <p:nvPr/>
        </p:nvSpPr>
        <p:spPr>
          <a:xfrm>
            <a:off x="794597" y="2698825"/>
            <a:ext cx="29178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blems Statements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5" name="Google Shape;798;p10">
            <a:extLst>
              <a:ext uri="{FF2B5EF4-FFF2-40B4-BE49-F238E27FC236}">
                <a16:creationId xmlns:a16="http://schemas.microsoft.com/office/drawing/2014/main" id="{942CED47-4AEB-4B15-8D1E-3409C191D7B5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/>
        </p:blipFill>
        <p:spPr>
          <a:xfrm>
            <a:off x="536294" y="2750053"/>
            <a:ext cx="288000" cy="28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799;p10">
            <a:extLst>
              <a:ext uri="{FF2B5EF4-FFF2-40B4-BE49-F238E27FC236}">
                <a16:creationId xmlns:a16="http://schemas.microsoft.com/office/drawing/2014/main" id="{55D69082-AF1C-47F9-809D-4D96148C423D}"/>
              </a:ext>
            </a:extLst>
          </p:cNvPr>
          <p:cNvSpPr txBox="1"/>
          <p:nvPr/>
        </p:nvSpPr>
        <p:spPr>
          <a:xfrm>
            <a:off x="733277" y="4584172"/>
            <a:ext cx="3000000" cy="1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Objective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7" name="Google Shape;800;p10">
            <a:extLst>
              <a:ext uri="{FF2B5EF4-FFF2-40B4-BE49-F238E27FC236}">
                <a16:creationId xmlns:a16="http://schemas.microsoft.com/office/drawing/2014/main" id="{63713BDA-09EC-41E5-B3AF-1BA4374934A5}"/>
              </a:ext>
            </a:extLst>
          </p:cNvPr>
          <p:cNvSpPr/>
          <p:nvPr/>
        </p:nvSpPr>
        <p:spPr>
          <a:xfrm>
            <a:off x="487793" y="4655667"/>
            <a:ext cx="280736" cy="266849"/>
          </a:xfrm>
          <a:custGeom>
            <a:avLst/>
            <a:gdLst/>
            <a:ahLst/>
            <a:cxnLst/>
            <a:rect l="l" t="t" r="r" b="b"/>
            <a:pathLst>
              <a:path w="3208412" h="3234532" extrusionOk="0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801;p10">
            <a:extLst>
              <a:ext uri="{FF2B5EF4-FFF2-40B4-BE49-F238E27FC236}">
                <a16:creationId xmlns:a16="http://schemas.microsoft.com/office/drawing/2014/main" id="{4AFF56DA-D95B-4761-849F-7052F4063F5C}"/>
              </a:ext>
            </a:extLst>
          </p:cNvPr>
          <p:cNvSpPr txBox="1"/>
          <p:nvPr/>
        </p:nvSpPr>
        <p:spPr>
          <a:xfrm>
            <a:off x="5100239" y="3685093"/>
            <a:ext cx="1072500" cy="2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Result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9" name="Google Shape;802;p10">
            <a:extLst>
              <a:ext uri="{FF2B5EF4-FFF2-40B4-BE49-F238E27FC236}">
                <a16:creationId xmlns:a16="http://schemas.microsoft.com/office/drawing/2014/main" id="{EB358DCF-B123-415A-97E0-1EDADFDB993C}"/>
              </a:ext>
            </a:extLst>
          </p:cNvPr>
          <p:cNvPicPr preferRelativeResize="0"/>
          <p:nvPr/>
        </p:nvPicPr>
        <p:blipFill rotWithShape="1">
          <a:blip r:embed="rId4">
            <a:alphaModFix/>
            <a:duotone>
              <a:prstClr val="black"/>
              <a:srgbClr val="FFC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85425" y="3711572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7C9A7DEB-3DB9-4C26-8DB1-E551EE4B9576}"/>
              </a:ext>
            </a:extLst>
          </p:cNvPr>
          <p:cNvSpPr/>
          <p:nvPr/>
        </p:nvSpPr>
        <p:spPr>
          <a:xfrm>
            <a:off x="9547272" y="5309386"/>
            <a:ext cx="2205990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en-ID" sz="1050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FD0EFF4-72C0-4CF7-B017-51BE6B22CE55}"/>
              </a:ext>
            </a:extLst>
          </p:cNvPr>
          <p:cNvSpPr/>
          <p:nvPr/>
        </p:nvSpPr>
        <p:spPr>
          <a:xfrm>
            <a:off x="444918" y="5135933"/>
            <a:ext cx="272864" cy="272865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AEEB6D7-7D41-4793-8D99-62F9EBD5C702}"/>
              </a:ext>
            </a:extLst>
          </p:cNvPr>
          <p:cNvSpPr txBox="1"/>
          <p:nvPr/>
        </p:nvSpPr>
        <p:spPr>
          <a:xfrm>
            <a:off x="811986" y="5113821"/>
            <a:ext cx="33542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Build </a:t>
            </a:r>
            <a:r>
              <a:rPr lang="en-ID" sz="1200" b="1" dirty="0">
                <a:latin typeface="Google Sans" panose="020B0503030502040204" pitchFamily="34" charset="0"/>
              </a:rPr>
              <a:t>supervised model that can predict takers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1AA1996-C3A4-41F2-A7FD-F4FF75C750A8}"/>
              </a:ext>
            </a:extLst>
          </p:cNvPr>
          <p:cNvSpPr/>
          <p:nvPr/>
        </p:nvSpPr>
        <p:spPr>
          <a:xfrm>
            <a:off x="436225" y="5589596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360047E-024F-4F19-9E9A-4A8BE023D96F}"/>
              </a:ext>
            </a:extLst>
          </p:cNvPr>
          <p:cNvSpPr txBox="1"/>
          <p:nvPr/>
        </p:nvSpPr>
        <p:spPr>
          <a:xfrm>
            <a:off x="801693" y="5589596"/>
            <a:ext cx="3354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Google Sans" panose="020B0503030502040204" pitchFamily="34" charset="0"/>
              </a:rPr>
              <a:t>C</a:t>
            </a:r>
            <a:r>
              <a:rPr lang="en-ID" sz="1200" b="1" dirty="0" err="1">
                <a:latin typeface="Google Sans" panose="020B0503030502040204" pitchFamily="34" charset="0"/>
              </a:rPr>
              <a:t>reate</a:t>
            </a:r>
            <a:r>
              <a:rPr lang="en-ID" sz="1200" b="1" dirty="0">
                <a:latin typeface="Google Sans" panose="020B0503030502040204" pitchFamily="34" charset="0"/>
              </a:rPr>
              <a:t> segment of customer </a:t>
            </a:r>
            <a:r>
              <a:rPr lang="en-ID" sz="1200" dirty="0">
                <a:latin typeface="Google Sans" panose="020B0503030502040204" pitchFamily="34" charset="0"/>
              </a:rPr>
              <a:t>with clustering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B4DFC5C-5953-44D7-B4EB-5630D9576E26}"/>
              </a:ext>
            </a:extLst>
          </p:cNvPr>
          <p:cNvSpPr/>
          <p:nvPr/>
        </p:nvSpPr>
        <p:spPr>
          <a:xfrm>
            <a:off x="440782" y="6041734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F1DE681-6FD2-4588-A835-0CC57E77C62D}"/>
              </a:ext>
            </a:extLst>
          </p:cNvPr>
          <p:cNvSpPr txBox="1"/>
          <p:nvPr/>
        </p:nvSpPr>
        <p:spPr>
          <a:xfrm>
            <a:off x="794597" y="6041734"/>
            <a:ext cx="33542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Develop </a:t>
            </a:r>
            <a:r>
              <a:rPr lang="en-ID" sz="1200" b="1" dirty="0">
                <a:latin typeface="Google Sans" panose="020B0503030502040204" pitchFamily="34" charset="0"/>
              </a:rPr>
              <a:t>subsegment </a:t>
            </a:r>
            <a:r>
              <a:rPr lang="en-ID" sz="1200" dirty="0">
                <a:latin typeface="Google Sans" panose="020B0503030502040204" pitchFamily="34" charset="0"/>
              </a:rPr>
              <a:t>based on ARPU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4AA92D2-A9B8-401B-9A0F-BB9ED18243C6}"/>
              </a:ext>
            </a:extLst>
          </p:cNvPr>
          <p:cNvSpPr/>
          <p:nvPr/>
        </p:nvSpPr>
        <p:spPr>
          <a:xfrm>
            <a:off x="399862" y="3218941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F859F51-EFE9-4A24-9BA7-254871A27D0B}"/>
              </a:ext>
            </a:extLst>
          </p:cNvPr>
          <p:cNvSpPr/>
          <p:nvPr/>
        </p:nvSpPr>
        <p:spPr>
          <a:xfrm>
            <a:off x="391169" y="3672604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0E1ADBB-A3CD-4D2A-AF13-5733C19B4064}"/>
              </a:ext>
            </a:extLst>
          </p:cNvPr>
          <p:cNvSpPr/>
          <p:nvPr/>
        </p:nvSpPr>
        <p:spPr>
          <a:xfrm>
            <a:off x="395726" y="4124742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DECBBB-36A3-4822-9B63-20C85989031C}"/>
              </a:ext>
            </a:extLst>
          </p:cNvPr>
          <p:cNvSpPr/>
          <p:nvPr/>
        </p:nvSpPr>
        <p:spPr>
          <a:xfrm>
            <a:off x="366533" y="1228527"/>
            <a:ext cx="3971533" cy="1454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 growth of online ride-hailing business in Indonesia is potential market to get more data users for </a:t>
            </a: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elkomsel</a:t>
            </a:r>
            <a:endParaRPr lang="en-US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elkomsel</a:t>
            </a: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launched a special combo data package for online ride-hailing drivers with IDR 75K for price</a:t>
            </a:r>
          </a:p>
          <a:p>
            <a:pPr marL="285750" lvl="0" indent="-285750">
              <a:lnSpc>
                <a:spcPct val="150000"/>
              </a:lnSpc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ompetitor offered merely same package for “</a:t>
            </a:r>
            <a:r>
              <a:rPr lang="en-US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itra</a:t>
            </a: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driver” with competitive price (IDR 20K – 75K)</a:t>
            </a:r>
          </a:p>
        </p:txBody>
      </p:sp>
      <p:sp>
        <p:nvSpPr>
          <p:cNvPr id="50" name="Google Shape;713;p10">
            <a:extLst>
              <a:ext uri="{FF2B5EF4-FFF2-40B4-BE49-F238E27FC236}">
                <a16:creationId xmlns:a16="http://schemas.microsoft.com/office/drawing/2014/main" id="{531A79D8-C3A5-4A6E-ACC8-A1DCC639EBFE}"/>
              </a:ext>
            </a:extLst>
          </p:cNvPr>
          <p:cNvSpPr/>
          <p:nvPr/>
        </p:nvSpPr>
        <p:spPr>
          <a:xfrm>
            <a:off x="4716323" y="2140223"/>
            <a:ext cx="4214050" cy="93731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lustering:</a:t>
            </a:r>
          </a:p>
          <a:p>
            <a:pPr lvl="0">
              <a:buClr>
                <a:srgbClr val="000000"/>
              </a:buClr>
              <a:buSzPts val="1400"/>
            </a:pPr>
            <a:endParaRPr lang="en-ID" sz="11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Economic Customer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Lowest ARPU &amp; data consumption, Usage primarily for </a:t>
            </a:r>
            <a:r>
              <a:rPr lang="en-ID" sz="11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apps.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id Spender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Medium ARPU &amp; payload, highest voice </a:t>
            </a:r>
            <a:r>
              <a:rPr lang="en-ID" sz="11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ou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&amp; transaction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Data Addict </a:t>
            </a: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= High data consumption &amp; dominant video &amp; social app usage.</a:t>
            </a:r>
            <a:endParaRPr lang="en-ID"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1" name="Google Shape;713;p10">
            <a:extLst>
              <a:ext uri="{FF2B5EF4-FFF2-40B4-BE49-F238E27FC236}">
                <a16:creationId xmlns:a16="http://schemas.microsoft.com/office/drawing/2014/main" id="{F3917D27-0D4D-4B39-B7D8-39CD5EB4ADDD}"/>
              </a:ext>
            </a:extLst>
          </p:cNvPr>
          <p:cNvSpPr/>
          <p:nvPr/>
        </p:nvSpPr>
        <p:spPr>
          <a:xfrm>
            <a:off x="4716323" y="1213845"/>
            <a:ext cx="4214050" cy="937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b="0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entify potential takers with </a:t>
            </a:r>
            <a:r>
              <a:rPr lang="en-ID" sz="1100" b="1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andom forest </a:t>
            </a:r>
            <a:r>
              <a:rPr lang="en-ID" sz="1100" b="0" i="0" u="none" strike="noStrike" cap="none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lassification algorithm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2" name="Google Shape;713;p10">
            <a:extLst>
              <a:ext uri="{FF2B5EF4-FFF2-40B4-BE49-F238E27FC236}">
                <a16:creationId xmlns:a16="http://schemas.microsoft.com/office/drawing/2014/main" id="{E8EB86C5-39B3-4779-A6C1-4342427EEC7B}"/>
              </a:ext>
            </a:extLst>
          </p:cNvPr>
          <p:cNvSpPr/>
          <p:nvPr/>
        </p:nvSpPr>
        <p:spPr>
          <a:xfrm>
            <a:off x="4744273" y="2875890"/>
            <a:ext cx="4214050" cy="937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reate package based on selected sub-segment</a:t>
            </a:r>
            <a:endParaRPr sz="1100" b="0" i="0" u="none" strike="noStrike" cap="none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7450BBB-66F2-458B-A495-6DD06A77136F}"/>
              </a:ext>
            </a:extLst>
          </p:cNvPr>
          <p:cNvSpPr/>
          <p:nvPr/>
        </p:nvSpPr>
        <p:spPr>
          <a:xfrm>
            <a:off x="4749147" y="4421932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20C9112-A1F5-412E-875C-5ED13A006D92}"/>
              </a:ext>
            </a:extLst>
          </p:cNvPr>
          <p:cNvSpPr/>
          <p:nvPr/>
        </p:nvSpPr>
        <p:spPr>
          <a:xfrm>
            <a:off x="4730345" y="520615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20AC72C-129B-4670-BA80-8B4CCA644550}"/>
              </a:ext>
            </a:extLst>
          </p:cNvPr>
          <p:cNvSpPr/>
          <p:nvPr/>
        </p:nvSpPr>
        <p:spPr>
          <a:xfrm>
            <a:off x="4745013" y="5881337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1306BFF-46EA-4FC3-BBAC-836421353C9F}"/>
              </a:ext>
            </a:extLst>
          </p:cNvPr>
          <p:cNvSpPr/>
          <p:nvPr/>
        </p:nvSpPr>
        <p:spPr>
          <a:xfrm>
            <a:off x="364449" y="1326392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3A0C7613-A01F-437E-8893-62FB8D11D026}"/>
              </a:ext>
            </a:extLst>
          </p:cNvPr>
          <p:cNvSpPr/>
          <p:nvPr/>
        </p:nvSpPr>
        <p:spPr>
          <a:xfrm>
            <a:off x="362382" y="1724276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2DF036DA-342E-4261-BF48-4D0CD85AA28F}"/>
              </a:ext>
            </a:extLst>
          </p:cNvPr>
          <p:cNvSpPr/>
          <p:nvPr/>
        </p:nvSpPr>
        <p:spPr>
          <a:xfrm>
            <a:off x="366533" y="2177736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9A71207-8489-41C2-B3DC-F970B1A3F283}"/>
              </a:ext>
            </a:extLst>
          </p:cNvPr>
          <p:cNvSpPr/>
          <p:nvPr/>
        </p:nvSpPr>
        <p:spPr>
          <a:xfrm>
            <a:off x="4608043" y="1423908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432D9799-F1DE-4731-B4FB-20D755A6FFB9}"/>
              </a:ext>
            </a:extLst>
          </p:cNvPr>
          <p:cNvSpPr/>
          <p:nvPr/>
        </p:nvSpPr>
        <p:spPr>
          <a:xfrm>
            <a:off x="4618959" y="185906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52D466E-9462-4BAE-BE53-6D198FCD81C5}"/>
              </a:ext>
            </a:extLst>
          </p:cNvPr>
          <p:cNvSpPr/>
          <p:nvPr/>
        </p:nvSpPr>
        <p:spPr>
          <a:xfrm>
            <a:off x="4603909" y="3215169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DE9A43-26F7-4A7F-AA71-3B9C622941BC}"/>
              </a:ext>
            </a:extLst>
          </p:cNvPr>
          <p:cNvSpPr/>
          <p:nvPr/>
        </p:nvSpPr>
        <p:spPr>
          <a:xfrm>
            <a:off x="5074039" y="4415304"/>
            <a:ext cx="3742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re are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potential 55k new numbers of takers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based on this algorithm.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n total there are 406k potential package takers. 44.2% taker rate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+4%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from previous data. </a:t>
            </a: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AUC 93.8%, F1-Score 91% with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andom forest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EBBD1DE-DDBC-493F-B58C-E7C9D9937188}"/>
              </a:ext>
            </a:extLst>
          </p:cNvPr>
          <p:cNvSpPr/>
          <p:nvPr/>
        </p:nvSpPr>
        <p:spPr>
          <a:xfrm>
            <a:off x="5083443" y="5173451"/>
            <a:ext cx="3742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Develop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3 main cluster with 0.63 silhouette score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and distinctive usage of data, voice, and </a:t>
            </a:r>
            <a:r>
              <a:rPr lang="en-ID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sms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e cluster are Economic Customer, Mid Spender, and Data Addic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2FF53D5-1065-41F5-974E-F776FE39014A}"/>
              </a:ext>
            </a:extLst>
          </p:cNvPr>
          <p:cNvSpPr/>
          <p:nvPr/>
        </p:nvSpPr>
        <p:spPr>
          <a:xfrm>
            <a:off x="5098111" y="5911889"/>
            <a:ext cx="37426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C</a:t>
            </a:r>
            <a:r>
              <a:rPr lang="en-ID" sz="1000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reated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4 package out of 9 sub-segment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that can bring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of IDR 4937/sub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B4F6C06-894D-4A05-8F02-E161CD74E1F8}"/>
              </a:ext>
            </a:extLst>
          </p:cNvPr>
          <p:cNvSpPr/>
          <p:nvPr/>
        </p:nvSpPr>
        <p:spPr>
          <a:xfrm>
            <a:off x="9223791" y="1516776"/>
            <a:ext cx="272864" cy="272865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3141244-CDFC-4A50-9DAC-DEAA8D06E72E}"/>
              </a:ext>
            </a:extLst>
          </p:cNvPr>
          <p:cNvSpPr/>
          <p:nvPr/>
        </p:nvSpPr>
        <p:spPr>
          <a:xfrm>
            <a:off x="9223791" y="2092729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BD7D362-9DFD-48B2-8FC5-E05D06F42420}"/>
              </a:ext>
            </a:extLst>
          </p:cNvPr>
          <p:cNvSpPr/>
          <p:nvPr/>
        </p:nvSpPr>
        <p:spPr>
          <a:xfrm>
            <a:off x="9238459" y="2767913"/>
            <a:ext cx="276998" cy="27699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9C7E59B-92EE-4975-90ED-7C352B6733BA}"/>
              </a:ext>
            </a:extLst>
          </p:cNvPr>
          <p:cNvSpPr/>
          <p:nvPr/>
        </p:nvSpPr>
        <p:spPr>
          <a:xfrm>
            <a:off x="9481626" y="1539493"/>
            <a:ext cx="23013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55,026 new takers (based on FP) can bring additional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R 4.12 Billion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A1810A8-082C-4C0E-9E23-A68DD568CC20}"/>
              </a:ext>
            </a:extLst>
          </p:cNvPr>
          <p:cNvSpPr/>
          <p:nvPr/>
        </p:nvSpPr>
        <p:spPr>
          <a:xfrm>
            <a:off x="9461312" y="2119580"/>
            <a:ext cx="23013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Median revenue of each cluster summed up into IDR </a:t>
            </a:r>
            <a:r>
              <a:rPr lang="en-US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9.35 Billion from 78,917 subs</a:t>
            </a:r>
            <a:endParaRPr lang="en-ID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64E5E09-1C34-44D3-95F2-51E1C11A636D}"/>
              </a:ext>
            </a:extLst>
          </p:cNvPr>
          <p:cNvSpPr/>
          <p:nvPr/>
        </p:nvSpPr>
        <p:spPr>
          <a:xfrm>
            <a:off x="9518418" y="2770835"/>
            <a:ext cx="230130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4 New Package Offering: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Hemat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A,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Hemat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B,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Gasp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, and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jol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</a:t>
            </a:r>
            <a:r>
              <a:rPr lang="en-ID" sz="1000" b="1" dirty="0" err="1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Juara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that can bring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IDR 9.82 Billions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 from 78,917 subs. </a:t>
            </a:r>
            <a:r>
              <a:rPr lang="en-ID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+67% </a:t>
            </a:r>
            <a:r>
              <a:rPr lang="en-ID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of revenue compared to baseline IDR 75k package</a:t>
            </a:r>
            <a:endParaRPr lang="en-US" sz="1000" dirty="0">
              <a:solidFill>
                <a:srgbClr val="000000"/>
              </a:solidFill>
              <a:latin typeface="Google Sans" panose="020B050303050204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4EDD7B5-2EAE-4F42-B8C8-FDCCE1278781}"/>
              </a:ext>
            </a:extLst>
          </p:cNvPr>
          <p:cNvSpPr/>
          <p:nvPr/>
        </p:nvSpPr>
        <p:spPr>
          <a:xfrm>
            <a:off x="9470513" y="3903565"/>
            <a:ext cx="23013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Average </a:t>
            </a:r>
            <a:r>
              <a:rPr lang="en-US" sz="1000" b="1" dirty="0">
                <a:solidFill>
                  <a:srgbClr val="000000"/>
                </a:solidFill>
                <a:latin typeface="Google Sans" panose="020B0503030502040204" pitchFamily="34" charset="0"/>
                <a:ea typeface="Arial"/>
                <a:cs typeface="Arial"/>
                <a:sym typeface="Arial"/>
              </a:rPr>
              <a:t>uplift per subscriber reach IDR 4937</a:t>
            </a:r>
          </a:p>
        </p:txBody>
      </p:sp>
    </p:spTree>
    <p:extLst>
      <p:ext uri="{BB962C8B-B14F-4D97-AF65-F5344CB8AC3E}">
        <p14:creationId xmlns:p14="http://schemas.microsoft.com/office/powerpoint/2010/main" val="1686167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28006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ODELLING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8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30 top feature </a:t>
            </a:r>
            <a:r>
              <a:rPr lang="en-ID" sz="2400" dirty="0">
                <a:latin typeface="Google Sans" panose="020B0503030502040204" pitchFamily="34" charset="0"/>
              </a:rPr>
              <a:t>ingested into the model</a:t>
            </a:r>
            <a:r>
              <a:rPr lang="en-ID" sz="2400" b="1" dirty="0">
                <a:latin typeface="Google Sans" panose="020B0503030502040204" pitchFamily="34" charset="0"/>
              </a:rPr>
              <a:t>, feature selection</a:t>
            </a:r>
            <a:r>
              <a:rPr lang="en-ID" sz="2400" dirty="0">
                <a:latin typeface="Google Sans" panose="020B0503030502040204" pitchFamily="34" charset="0"/>
              </a:rPr>
              <a:t> conducted using </a:t>
            </a:r>
            <a:r>
              <a:rPr lang="en-ID" sz="2400" b="1" dirty="0" err="1">
                <a:latin typeface="Google Sans" panose="020B0503030502040204" pitchFamily="34" charset="0"/>
              </a:rPr>
              <a:t>XGBoost</a:t>
            </a:r>
            <a:r>
              <a:rPr lang="en-ID" sz="2400" b="1" dirty="0">
                <a:latin typeface="Google Sans" panose="020B0503030502040204" pitchFamily="34" charset="0"/>
              </a:rPr>
              <a:t> algorithm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02ADAA-D796-4541-8B64-E75AF5E8C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240" y="1678794"/>
            <a:ext cx="6343613" cy="467120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131F10B-DECE-46A1-A96A-E29789C1B3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292" y="1678794"/>
            <a:ext cx="3563647" cy="156224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BACE06F-82B7-455B-9ABF-66EABECD99A9}"/>
              </a:ext>
            </a:extLst>
          </p:cNvPr>
          <p:cNvSpPr txBox="1"/>
          <p:nvPr/>
        </p:nvSpPr>
        <p:spPr>
          <a:xfrm>
            <a:off x="566291" y="3525521"/>
            <a:ext cx="3563647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Revenue of </a:t>
            </a:r>
            <a:r>
              <a:rPr lang="en-US" b="1" dirty="0">
                <a:latin typeface="Google Sans" panose="020B0503030502040204" pitchFamily="34" charset="0"/>
              </a:rPr>
              <a:t>data usage (</a:t>
            </a:r>
            <a:r>
              <a:rPr lang="en-US" b="1" dirty="0" err="1">
                <a:latin typeface="Google Sans" panose="020B0503030502040204" pitchFamily="34" charset="0"/>
              </a:rPr>
              <a:t>rev_broadband</a:t>
            </a:r>
            <a:r>
              <a:rPr lang="en-US" b="1" dirty="0">
                <a:latin typeface="Google Sans" panose="020B0503030502040204" pitchFamily="34" charset="0"/>
              </a:rPr>
              <a:t> &amp; </a:t>
            </a:r>
            <a:r>
              <a:rPr lang="en-US" b="1" dirty="0" err="1">
                <a:latin typeface="Google Sans" panose="020B0503030502040204" pitchFamily="34" charset="0"/>
              </a:rPr>
              <a:t>rev_data_pack</a:t>
            </a:r>
            <a:r>
              <a:rPr lang="en-US" b="1" dirty="0">
                <a:latin typeface="Google Sans" panose="020B0503030502040204" pitchFamily="34" charset="0"/>
              </a:rPr>
              <a:t>) </a:t>
            </a:r>
            <a:r>
              <a:rPr lang="en-US" dirty="0">
                <a:latin typeface="Google Sans" panose="020B0503030502040204" pitchFamily="34" charset="0"/>
              </a:rPr>
              <a:t>managed to get into </a:t>
            </a:r>
            <a:r>
              <a:rPr lang="en-US" b="1" dirty="0">
                <a:latin typeface="Google Sans" panose="020B0503030502040204" pitchFamily="34" charset="0"/>
              </a:rPr>
              <a:t>top 3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9F13B7-880B-4799-AC42-DF14B9B1A67B}"/>
              </a:ext>
            </a:extLst>
          </p:cNvPr>
          <p:cNvSpPr/>
          <p:nvPr/>
        </p:nvSpPr>
        <p:spPr>
          <a:xfrm>
            <a:off x="5323840" y="1755983"/>
            <a:ext cx="6242013" cy="45889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0539E28-5483-4730-9E28-4CFED0B16008}"/>
              </a:ext>
            </a:extLst>
          </p:cNvPr>
          <p:cNvSpPr txBox="1"/>
          <p:nvPr/>
        </p:nvSpPr>
        <p:spPr>
          <a:xfrm>
            <a:off x="566290" y="4886961"/>
            <a:ext cx="3563647" cy="92333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Feature that created from </a:t>
            </a:r>
            <a:r>
              <a:rPr lang="en-US" b="1" dirty="0">
                <a:latin typeface="Google Sans" panose="020B0503030502040204" pitchFamily="34" charset="0"/>
              </a:rPr>
              <a:t>feature engineering</a:t>
            </a:r>
            <a:r>
              <a:rPr lang="en-US" dirty="0">
                <a:latin typeface="Google Sans" panose="020B0503030502040204" pitchFamily="34" charset="0"/>
              </a:rPr>
              <a:t> managed to have high 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B2D6EC1-FD20-4619-BFDB-1B2350717578}"/>
              </a:ext>
            </a:extLst>
          </p:cNvPr>
          <p:cNvSpPr/>
          <p:nvPr/>
        </p:nvSpPr>
        <p:spPr>
          <a:xfrm>
            <a:off x="4185920" y="3525520"/>
            <a:ext cx="1036318" cy="1830675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4931940-3AB1-4E72-9B8E-76277A3BAD40}"/>
              </a:ext>
            </a:extLst>
          </p:cNvPr>
          <p:cNvSpPr/>
          <p:nvPr/>
        </p:nvSpPr>
        <p:spPr>
          <a:xfrm>
            <a:off x="4231536" y="1869440"/>
            <a:ext cx="990703" cy="2144957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7DA056-B7A6-483F-8B5F-EB7A0F1E623C}"/>
              </a:ext>
            </a:extLst>
          </p:cNvPr>
          <p:cNvSpPr/>
          <p:nvPr/>
        </p:nvSpPr>
        <p:spPr>
          <a:xfrm>
            <a:off x="5323840" y="2483021"/>
            <a:ext cx="6242013" cy="1722022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64310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8" y="145479"/>
            <a:ext cx="111926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To ensure we get the best performing model, we train the model in several iteration. </a:t>
            </a:r>
            <a:r>
              <a:rPr lang="en-ID" sz="2400" b="1" dirty="0">
                <a:latin typeface="Google Sans" panose="020B0503030502040204" pitchFamily="34" charset="0"/>
              </a:rPr>
              <a:t>Iteration 3 have best overall performance (f1 score)</a:t>
            </a:r>
            <a:r>
              <a:rPr lang="en-ID" sz="2400" dirty="0">
                <a:latin typeface="Google Sans" panose="020B0503030502040204" pitchFamily="34" charset="0"/>
              </a:rPr>
              <a:t> compared to previous iterations.</a:t>
            </a:r>
            <a:endParaRPr lang="id-ID" sz="2400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1A8DCF-6354-443A-A6C1-066170F978FB}"/>
              </a:ext>
            </a:extLst>
          </p:cNvPr>
          <p:cNvSpPr txBox="1"/>
          <p:nvPr/>
        </p:nvSpPr>
        <p:spPr>
          <a:xfrm>
            <a:off x="2007563" y="1814415"/>
            <a:ext cx="2850190" cy="6771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1. Raw feature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26 Featur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E3F804-95EC-4050-A9B0-A608DCA25C54}"/>
              </a:ext>
            </a:extLst>
          </p:cNvPr>
          <p:cNvSpPr txBox="1"/>
          <p:nvPr/>
        </p:nvSpPr>
        <p:spPr>
          <a:xfrm>
            <a:off x="577498" y="2713078"/>
            <a:ext cx="1403839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Logistic Regression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B4FECF-72FB-4937-BAEF-F0726EC2B4D2}"/>
              </a:ext>
            </a:extLst>
          </p:cNvPr>
          <p:cNvSpPr txBox="1"/>
          <p:nvPr/>
        </p:nvSpPr>
        <p:spPr>
          <a:xfrm>
            <a:off x="600945" y="3694230"/>
            <a:ext cx="1403839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Decision Tree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08235D-F475-40D5-A398-BC0AF327E4C6}"/>
              </a:ext>
            </a:extLst>
          </p:cNvPr>
          <p:cNvSpPr txBox="1"/>
          <p:nvPr/>
        </p:nvSpPr>
        <p:spPr>
          <a:xfrm>
            <a:off x="600945" y="4723533"/>
            <a:ext cx="1403839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Random Forest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10835D-0FC4-421B-B5AF-C3D3C29D338C}"/>
              </a:ext>
            </a:extLst>
          </p:cNvPr>
          <p:cNvSpPr txBox="1"/>
          <p:nvPr/>
        </p:nvSpPr>
        <p:spPr>
          <a:xfrm>
            <a:off x="5386741" y="1820174"/>
            <a:ext cx="2850190" cy="67710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2. Feature engineering: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134 Featur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714362-37B2-4E80-B3F8-0CCEC85E5CE0}"/>
              </a:ext>
            </a:extLst>
          </p:cNvPr>
          <p:cNvSpPr txBox="1"/>
          <p:nvPr/>
        </p:nvSpPr>
        <p:spPr>
          <a:xfrm>
            <a:off x="8650168" y="1814415"/>
            <a:ext cx="2850190" cy="707886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3. Feature engineering &amp;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feature selection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30 Features)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5A37DD-BDB3-46E1-8A92-E43510F673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8829" y="2713077"/>
            <a:ext cx="2765659" cy="7360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294A17-8320-431E-8678-0DFC7CB3E0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4643" y="2721234"/>
            <a:ext cx="2618141" cy="7278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89C897-6BDD-4524-9160-66E1B13BF5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18941" y="2721234"/>
            <a:ext cx="2721335" cy="8141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B91EBD-30B2-4E0C-A889-8154A8384D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77498" y="3608402"/>
            <a:ext cx="2526488" cy="74110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4E76D1F-FEFA-419F-AA58-15FBAD0834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50844" y="3621641"/>
            <a:ext cx="2519533" cy="7278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DAFC089-BEE1-472A-B538-5EDFA1E870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32229" y="3621641"/>
            <a:ext cx="2789343" cy="83211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960BC5D-4A5B-4FFD-8522-522E7D3314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33538" y="4645499"/>
            <a:ext cx="2694837" cy="7980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C040151-9650-4D70-8523-4AD39501BEB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88944" y="4679571"/>
            <a:ext cx="2519533" cy="79804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B45EA52-2F6F-4146-8A54-C5283DE845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08430" y="4645498"/>
            <a:ext cx="2677240" cy="83211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0D5DF11-3465-4C24-AC4C-BE2BE61D020B}"/>
              </a:ext>
            </a:extLst>
          </p:cNvPr>
          <p:cNvSpPr txBox="1"/>
          <p:nvPr/>
        </p:nvSpPr>
        <p:spPr>
          <a:xfrm>
            <a:off x="1591525" y="5861277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8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6BF5ACE-A5FA-4836-A5E9-C8DE7A2E5646}"/>
              </a:ext>
            </a:extLst>
          </p:cNvPr>
          <p:cNvSpPr txBox="1"/>
          <p:nvPr/>
        </p:nvSpPr>
        <p:spPr>
          <a:xfrm>
            <a:off x="5337861" y="5861653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7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236907-3FE1-49BE-A7C9-5F20292DBE9C}"/>
              </a:ext>
            </a:extLst>
          </p:cNvPr>
          <p:cNvSpPr txBox="1"/>
          <p:nvPr/>
        </p:nvSpPr>
        <p:spPr>
          <a:xfrm>
            <a:off x="8966485" y="5861277"/>
            <a:ext cx="2410755" cy="36933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6</a:t>
            </a:r>
            <a:endParaRPr lang="en-US" dirty="0">
              <a:latin typeface="Google Sans" panose="020B050303050204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F9E237C-9F78-45F9-8246-21D718B6306A}"/>
              </a:ext>
            </a:extLst>
          </p:cNvPr>
          <p:cNvCxnSpPr>
            <a:cxnSpLocks/>
          </p:cNvCxnSpPr>
          <p:nvPr/>
        </p:nvCxnSpPr>
        <p:spPr>
          <a:xfrm>
            <a:off x="5106867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BC533E4-16A2-41CC-B7A9-D86EB8214F64}"/>
              </a:ext>
            </a:extLst>
          </p:cNvPr>
          <p:cNvCxnSpPr>
            <a:cxnSpLocks/>
          </p:cNvCxnSpPr>
          <p:nvPr/>
        </p:nvCxnSpPr>
        <p:spPr>
          <a:xfrm>
            <a:off x="8439151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2C1AC108-9246-4908-BBBE-E067504FB7CD}"/>
              </a:ext>
            </a:extLst>
          </p:cNvPr>
          <p:cNvSpPr/>
          <p:nvPr/>
        </p:nvSpPr>
        <p:spPr>
          <a:xfrm>
            <a:off x="4738389" y="1872902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296739A0-7117-4E00-97C9-ABF487E2B6F2}"/>
              </a:ext>
            </a:extLst>
          </p:cNvPr>
          <p:cNvSpPr/>
          <p:nvPr/>
        </p:nvSpPr>
        <p:spPr>
          <a:xfrm>
            <a:off x="8042369" y="1887941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4104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b="1" dirty="0">
                <a:latin typeface="Google Sans" panose="020B0503030502040204" pitchFamily="34" charset="0"/>
              </a:rPr>
              <a:t> Objective (Classification), Random Forest achieved highest score,</a:t>
            </a:r>
            <a:r>
              <a:rPr lang="en-ID" sz="2400" dirty="0">
                <a:latin typeface="Google Sans" panose="020B0503030502040204" pitchFamily="34" charset="0"/>
              </a:rPr>
              <a:t> compared to Logistic Regression and Decision Tre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98FD33-8B9A-49A4-B4D7-4ECA8CC2A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539" y="976476"/>
            <a:ext cx="9400921" cy="36028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B8233A-9C3C-4410-BBE9-2362D9F90B30}"/>
              </a:ext>
            </a:extLst>
          </p:cNvPr>
          <p:cNvSpPr/>
          <p:nvPr/>
        </p:nvSpPr>
        <p:spPr>
          <a:xfrm>
            <a:off x="139553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7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F6B50D-AF88-4B35-BE7C-F8647146AD1F}"/>
              </a:ext>
            </a:extLst>
          </p:cNvPr>
          <p:cNvSpPr/>
          <p:nvPr/>
        </p:nvSpPr>
        <p:spPr>
          <a:xfrm>
            <a:off x="501249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8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E24BC-33C8-47C9-98DC-486F86A48770}"/>
              </a:ext>
            </a:extLst>
          </p:cNvPr>
          <p:cNvSpPr/>
          <p:nvPr/>
        </p:nvSpPr>
        <p:spPr>
          <a:xfrm>
            <a:off x="8347900" y="4744720"/>
            <a:ext cx="2448560" cy="3860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91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354283" y="5296171"/>
            <a:ext cx="9442177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All algorithm managed to achieve </a:t>
            </a:r>
            <a:r>
              <a:rPr lang="en-US" b="1" dirty="0">
                <a:latin typeface="Google Sans" panose="020B0503030502040204" pitchFamily="34" charset="0"/>
              </a:rPr>
              <a:t>key result of F1-Score above 70%,</a:t>
            </a:r>
            <a:r>
              <a:rPr lang="en-US" dirty="0">
                <a:latin typeface="Google Sans" panose="020B0503030502040204" pitchFamily="34" charset="0"/>
              </a:rPr>
              <a:t> we decided to went with </a:t>
            </a:r>
            <a:r>
              <a:rPr lang="en-US" b="1" dirty="0">
                <a:latin typeface="Google Sans" panose="020B0503030502040204" pitchFamily="34" charset="0"/>
              </a:rPr>
              <a:t>Random Forest </a:t>
            </a:r>
            <a:r>
              <a:rPr lang="en-US" dirty="0">
                <a:latin typeface="Google Sans" panose="020B0503030502040204" pitchFamily="34" charset="0"/>
              </a:rPr>
              <a:t> that managed to have high precision and recall resulting with </a:t>
            </a:r>
            <a:r>
              <a:rPr lang="en-US" b="1" dirty="0">
                <a:latin typeface="Google Sans" panose="020B0503030502040204" pitchFamily="34" charset="0"/>
              </a:rPr>
              <a:t>high F1-Score (91%)</a:t>
            </a:r>
            <a:endParaRPr lang="id-ID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751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SHAP Value </a:t>
            </a:r>
            <a:r>
              <a:rPr lang="en-ID" sz="2400" dirty="0">
                <a:latin typeface="Google Sans" panose="020B0503030502040204" pitchFamily="34" charset="0"/>
              </a:rPr>
              <a:t>also determined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that </a:t>
            </a:r>
            <a:r>
              <a:rPr lang="en-ID" sz="2400" b="1" dirty="0" err="1">
                <a:latin typeface="Google Sans" panose="020B0503030502040204" pitchFamily="34" charset="0"/>
              </a:rPr>
              <a:t>data_package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is the most important feature, followed by</a:t>
            </a:r>
            <a:r>
              <a:rPr lang="en-ID" sz="2400" b="1" dirty="0">
                <a:latin typeface="Google Sans" panose="020B0503030502040204" pitchFamily="34" charset="0"/>
              </a:rPr>
              <a:t> vo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A4FB69-C187-4F79-935E-DA0EDE720E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328" y="1390578"/>
            <a:ext cx="5900695" cy="20384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4ADF03B-80A4-4DD9-BE2E-1A3814EA7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5505" y="1432337"/>
            <a:ext cx="5125387" cy="45993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E549B6-861A-4E84-9F71-DEAC79BC36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364" y="3597759"/>
            <a:ext cx="5631141" cy="203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78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Output from </a:t>
            </a:r>
            <a:r>
              <a:rPr lang="en-US" sz="2400" b="1" dirty="0">
                <a:latin typeface="Google Sans" panose="020B0503030502040204" pitchFamily="34" charset="0"/>
              </a:rPr>
              <a:t>1</a:t>
            </a:r>
            <a:r>
              <a:rPr lang="en-US" sz="2400" b="1" baseline="30000" dirty="0">
                <a:latin typeface="Google Sans" panose="020B0503030502040204" pitchFamily="34" charset="0"/>
              </a:rPr>
              <a:t>st</a:t>
            </a:r>
            <a:r>
              <a:rPr lang="en-US" sz="2400" b="1" dirty="0">
                <a:latin typeface="Google Sans" panose="020B0503030502040204" pitchFamily="34" charset="0"/>
              </a:rPr>
              <a:t> Objective (Classification) will be used for determining cluster </a:t>
            </a:r>
            <a:r>
              <a:rPr lang="en-US" sz="2400" dirty="0">
                <a:latin typeface="Google Sans" panose="020B0503030502040204" pitchFamily="34" charset="0"/>
              </a:rPr>
              <a:t>and final </a:t>
            </a:r>
            <a:r>
              <a:rPr lang="en-US" sz="2400" b="1" dirty="0">
                <a:latin typeface="Google Sans" panose="020B0503030502040204" pitchFamily="34" charset="0"/>
              </a:rPr>
              <a:t>deliverable for package offer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74F9FE-6893-4051-BE2F-AD932C5C1460}"/>
              </a:ext>
            </a:extLst>
          </p:cNvPr>
          <p:cNvSpPr/>
          <p:nvPr/>
        </p:nvSpPr>
        <p:spPr>
          <a:xfrm>
            <a:off x="2604526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In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67D45C-2A64-409D-A359-06A78CC7F694}"/>
              </a:ext>
            </a:extLst>
          </p:cNvPr>
          <p:cNvSpPr/>
          <p:nvPr/>
        </p:nvSpPr>
        <p:spPr>
          <a:xfrm>
            <a:off x="980453" y="1453390"/>
            <a:ext cx="1787277" cy="136604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redicted Takers from Classification (55k MSISDN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589F41-4D49-4710-950B-04782810EA47}"/>
              </a:ext>
            </a:extLst>
          </p:cNvPr>
          <p:cNvSpPr/>
          <p:nvPr/>
        </p:nvSpPr>
        <p:spPr>
          <a:xfrm>
            <a:off x="2950970" y="1453390"/>
            <a:ext cx="3799785" cy="30789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6 Features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113D2B-CC61-4386-9A83-CE4E58B779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0970" y="1769184"/>
            <a:ext cx="3799785" cy="105025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479FC00-4601-4BBB-8374-D8D9EB92B8F4}"/>
              </a:ext>
            </a:extLst>
          </p:cNvPr>
          <p:cNvSpPr/>
          <p:nvPr/>
        </p:nvSpPr>
        <p:spPr>
          <a:xfrm>
            <a:off x="770929" y="1318884"/>
            <a:ext cx="6249457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50AA14-C329-4608-8630-DADDB35798E3}"/>
              </a:ext>
            </a:extLst>
          </p:cNvPr>
          <p:cNvSpPr/>
          <p:nvPr/>
        </p:nvSpPr>
        <p:spPr>
          <a:xfrm>
            <a:off x="7392261" y="1318884"/>
            <a:ext cx="4190208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9D2165-3A87-4335-B3F7-F87D9A0CCCDD}"/>
              </a:ext>
            </a:extLst>
          </p:cNvPr>
          <p:cNvSpPr/>
          <p:nvPr/>
        </p:nvSpPr>
        <p:spPr>
          <a:xfrm>
            <a:off x="770929" y="4253417"/>
            <a:ext cx="6249457" cy="2418351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64BD6C-B540-404B-AC49-C1416FE7CF7F}"/>
              </a:ext>
            </a:extLst>
          </p:cNvPr>
          <p:cNvSpPr/>
          <p:nvPr/>
        </p:nvSpPr>
        <p:spPr>
          <a:xfrm>
            <a:off x="2671377" y="4060377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Process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58EC03-928F-4A7F-AB44-4D6EB4F6442C}"/>
              </a:ext>
            </a:extLst>
          </p:cNvPr>
          <p:cNvSpPr/>
          <p:nvPr/>
        </p:nvSpPr>
        <p:spPr>
          <a:xfrm>
            <a:off x="8278358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Out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D0F610-5D8A-4D3E-82FC-D5867EE11DD1}"/>
              </a:ext>
            </a:extLst>
          </p:cNvPr>
          <p:cNvSpPr txBox="1"/>
          <p:nvPr/>
        </p:nvSpPr>
        <p:spPr>
          <a:xfrm>
            <a:off x="1323132" y="2994595"/>
            <a:ext cx="5011348" cy="461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Output from classification is used for clustering, as a foundation to build potential package offering based on segmentation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3B90D2-E95F-4829-B694-66654C344327}"/>
              </a:ext>
            </a:extLst>
          </p:cNvPr>
          <p:cNvSpPr/>
          <p:nvPr/>
        </p:nvSpPr>
        <p:spPr>
          <a:xfrm>
            <a:off x="1760781" y="4853220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Determining Optimal # of Cluster 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(Elbow Method &amp; Silhouette Score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355D20-BF24-4E29-95D6-CE25FD91C6A5}"/>
              </a:ext>
            </a:extLst>
          </p:cNvPr>
          <p:cNvSpPr/>
          <p:nvPr/>
        </p:nvSpPr>
        <p:spPr>
          <a:xfrm>
            <a:off x="4146554" y="4852449"/>
            <a:ext cx="1787277" cy="9120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D visualization of cluster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7F107A-6996-4E4D-99EF-D5ABF99D04C0}"/>
              </a:ext>
            </a:extLst>
          </p:cNvPr>
          <p:cNvSpPr txBox="1"/>
          <p:nvPr/>
        </p:nvSpPr>
        <p:spPr>
          <a:xfrm>
            <a:off x="1269005" y="5894598"/>
            <a:ext cx="5011348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Number of cluster is determined with silhouette score &amp; elbow method, also visualization is needed to make sure cluster grouping is not overfit and consistent across the features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BB628EFB-EEEC-42AB-963C-C12ED493167C}"/>
              </a:ext>
            </a:extLst>
          </p:cNvPr>
          <p:cNvSpPr/>
          <p:nvPr/>
        </p:nvSpPr>
        <p:spPr>
          <a:xfrm>
            <a:off x="3605899" y="3548790"/>
            <a:ext cx="579515" cy="434213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C10B5DA3-6579-47DB-84EE-34354717F221}"/>
              </a:ext>
            </a:extLst>
          </p:cNvPr>
          <p:cNvSpPr/>
          <p:nvPr/>
        </p:nvSpPr>
        <p:spPr>
          <a:xfrm rot="16200000">
            <a:off x="6909604" y="5021470"/>
            <a:ext cx="579515" cy="574035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80799A4-7229-4A3E-8094-5CA84C48F5C3}"/>
              </a:ext>
            </a:extLst>
          </p:cNvPr>
          <p:cNvSpPr/>
          <p:nvPr/>
        </p:nvSpPr>
        <p:spPr>
          <a:xfrm>
            <a:off x="8495562" y="163223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N-number of Cluster (determined from optimum number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C2A1A5-41E9-425E-A1F3-43F03AEB65B7}"/>
              </a:ext>
            </a:extLst>
          </p:cNvPr>
          <p:cNvSpPr/>
          <p:nvPr/>
        </p:nvSpPr>
        <p:spPr>
          <a:xfrm>
            <a:off x="8495562" y="300751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Sub-Cluster based on price segment (ARPU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777E2EE-86D7-4A9B-BEF1-83E3A2F924AD}"/>
              </a:ext>
            </a:extLst>
          </p:cNvPr>
          <p:cNvSpPr/>
          <p:nvPr/>
        </p:nvSpPr>
        <p:spPr>
          <a:xfrm>
            <a:off x="8495562" y="4256825"/>
            <a:ext cx="2013898" cy="125543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otential Package Offering based on best sub-cluster and respective consumer segment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2137E549-70F5-4BFA-9D53-5B72CE6F3EA8}"/>
              </a:ext>
            </a:extLst>
          </p:cNvPr>
          <p:cNvSpPr/>
          <p:nvPr/>
        </p:nvSpPr>
        <p:spPr>
          <a:xfrm rot="16200000">
            <a:off x="3818011" y="5021469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Down 29">
            <a:extLst>
              <a:ext uri="{FF2B5EF4-FFF2-40B4-BE49-F238E27FC236}">
                <a16:creationId xmlns:a16="http://schemas.microsoft.com/office/drawing/2014/main" id="{C026239E-3588-4446-9752-BFEF82858F6D}"/>
              </a:ext>
            </a:extLst>
          </p:cNvPr>
          <p:cNvSpPr/>
          <p:nvPr/>
        </p:nvSpPr>
        <p:spPr>
          <a:xfrm>
            <a:off x="9343604" y="2502202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1997E383-CFDB-49F0-A08A-CD6CA5E75F8E}"/>
              </a:ext>
            </a:extLst>
          </p:cNvPr>
          <p:cNvSpPr/>
          <p:nvPr/>
        </p:nvSpPr>
        <p:spPr>
          <a:xfrm>
            <a:off x="9343604" y="3778555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Cross 12">
            <a:extLst>
              <a:ext uri="{FF2B5EF4-FFF2-40B4-BE49-F238E27FC236}">
                <a16:creationId xmlns:a16="http://schemas.microsoft.com/office/drawing/2014/main" id="{5EB4E2B3-70AB-4832-B2BE-45BB4916BD3D}"/>
              </a:ext>
            </a:extLst>
          </p:cNvPr>
          <p:cNvSpPr/>
          <p:nvPr/>
        </p:nvSpPr>
        <p:spPr>
          <a:xfrm>
            <a:off x="2713129" y="1967716"/>
            <a:ext cx="323757" cy="323757"/>
          </a:xfrm>
          <a:prstGeom prst="plus">
            <a:avLst>
              <a:gd name="adj" fmla="val 3426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D615A1-B95D-485D-9F2C-30E73F2098DC}"/>
              </a:ext>
            </a:extLst>
          </p:cNvPr>
          <p:cNvSpPr txBox="1"/>
          <p:nvPr/>
        </p:nvSpPr>
        <p:spPr>
          <a:xfrm>
            <a:off x="7704393" y="5680505"/>
            <a:ext cx="3565613" cy="83099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Package offering based on sub-cluster is expected as the final output, and with cluster analysis each MSISDN is segmented into correct package which match the usage </a:t>
            </a:r>
            <a:r>
              <a:rPr lang="en-US" sz="1200" dirty="0" err="1">
                <a:latin typeface="Google Sans" panose="020B0503030502040204" pitchFamily="34" charset="0"/>
              </a:rPr>
              <a:t>behaviour</a:t>
            </a:r>
            <a:r>
              <a:rPr lang="en-US" sz="1200" dirty="0">
                <a:latin typeface="Google Sans" panose="020B0503030502040204" pitchFamily="34" charset="0"/>
              </a:rPr>
              <a:t> </a:t>
            </a:r>
            <a:endParaRPr lang="id-ID" sz="12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707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B14CE6D-A781-41F4-B027-0B6F89220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8174" y="4362024"/>
            <a:ext cx="1639104" cy="16762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F07CAE-6A36-4D1F-B027-554F35907A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8846" y="1152300"/>
            <a:ext cx="3905687" cy="26154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F555FB-9F69-429C-89BC-7A792F046A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7895" y="1112682"/>
            <a:ext cx="3643259" cy="265511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0" name="think-cell Slide" r:id="rId7" imgW="530" imgH="531" progId="TCLayout.ActiveDocument.1">
                  <p:embed/>
                </p:oleObj>
              </mc:Choice>
              <mc:Fallback>
                <p:oleObj name="think-cell Slide" r:id="rId7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silhouette score </a:t>
            </a:r>
            <a:r>
              <a:rPr lang="en-ID" sz="2400" dirty="0">
                <a:latin typeface="Google Sans" panose="020B0503030502040204" pitchFamily="34" charset="0"/>
              </a:rPr>
              <a:t>is used to determine number of cluster. </a:t>
            </a:r>
            <a:r>
              <a:rPr lang="en-ID" sz="2400" b="1" dirty="0">
                <a:latin typeface="Google Sans" panose="020B0503030502040204" pitchFamily="34" charset="0"/>
              </a:rPr>
              <a:t>The optimal number of cluster is 3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779CC06-52F9-42C8-839A-1D5BF770B37E}"/>
              </a:ext>
            </a:extLst>
          </p:cNvPr>
          <p:cNvSpPr txBox="1">
            <a:spLocks/>
          </p:cNvSpPr>
          <p:nvPr/>
        </p:nvSpPr>
        <p:spPr>
          <a:xfrm>
            <a:off x="5648124" y="4206918"/>
            <a:ext cx="2587197" cy="518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300"/>
              <a:buFont typeface="Lato"/>
              <a:buNone/>
              <a:tabLst/>
              <a:defRPr/>
            </a:pPr>
            <a:r>
              <a:rPr kumimoji="0" lang="en-ID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otal MSISDN in each clus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Google Sans" panose="020B0503030502040204" pitchFamily="34" charset="0"/>
              <a:sym typeface="La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459245-2A57-4C52-AC89-029F08132085}"/>
              </a:ext>
            </a:extLst>
          </p:cNvPr>
          <p:cNvSpPr/>
          <p:nvPr/>
        </p:nvSpPr>
        <p:spPr>
          <a:xfrm>
            <a:off x="3218174" y="4633750"/>
            <a:ext cx="1613479" cy="2143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0E776B-E086-4A35-AFBA-6B797C51A8F8}"/>
              </a:ext>
            </a:extLst>
          </p:cNvPr>
          <p:cNvSpPr txBox="1"/>
          <p:nvPr/>
        </p:nvSpPr>
        <p:spPr>
          <a:xfrm>
            <a:off x="284545" y="3306403"/>
            <a:ext cx="1277224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Determining number of cluste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14E8C0-26D7-4AF5-9096-BA3752959D8A}"/>
              </a:ext>
            </a:extLst>
          </p:cNvPr>
          <p:cNvSpPr/>
          <p:nvPr/>
        </p:nvSpPr>
        <p:spPr>
          <a:xfrm>
            <a:off x="7554818" y="2321003"/>
            <a:ext cx="193379" cy="145188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F14BF0C-48AA-447D-8121-69F4147C69A3}"/>
              </a:ext>
            </a:extLst>
          </p:cNvPr>
          <p:cNvSpPr/>
          <p:nvPr/>
        </p:nvSpPr>
        <p:spPr>
          <a:xfrm>
            <a:off x="2864328" y="1299856"/>
            <a:ext cx="161925" cy="118507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7D2CDF-89E0-4576-A218-9656A5F347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4533" y="4581388"/>
            <a:ext cx="4157130" cy="155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889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using PCA Analysis and 3D Viz,</a:t>
            </a:r>
            <a:r>
              <a:rPr lang="en-ID" sz="2400" dirty="0">
                <a:latin typeface="Google Sans" panose="020B0503030502040204" pitchFamily="34" charset="0"/>
              </a:rPr>
              <a:t> cluster looks have consistent group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933575" y="1314523"/>
            <a:ext cx="87630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Cluster seems have consistent grouping (not underfit/overfit) based on 3D visualization.</a:t>
            </a:r>
          </a:p>
          <a:p>
            <a:endParaRPr lang="en-US" dirty="0">
              <a:latin typeface="Google Sans" panose="020B0503030502040204" pitchFamily="34" charset="0"/>
            </a:endParaRPr>
          </a:p>
          <a:p>
            <a:r>
              <a:rPr lang="en-US" dirty="0">
                <a:latin typeface="Google Sans" panose="020B0503030502040204" pitchFamily="34" charset="0"/>
              </a:rPr>
              <a:t>Cluster 0 have the largest number of MSISDN (46k), followed by cluster 2 (26k) and cluster 1 (3k)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37B349-61F7-4AAC-A9DA-343B48306E92}"/>
              </a:ext>
            </a:extLst>
          </p:cNvPr>
          <p:cNvSpPr txBox="1"/>
          <p:nvPr/>
        </p:nvSpPr>
        <p:spPr>
          <a:xfrm>
            <a:off x="421902" y="1510441"/>
            <a:ext cx="1277224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3D Cluster Visualization using PCA Analysis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8525FC2-0EF5-4813-9B29-FD64B50CF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1412" y="2998513"/>
            <a:ext cx="5063670" cy="35573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D05B6C-2F45-4317-8B98-C7428EA701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212" y="2861070"/>
            <a:ext cx="5089870" cy="3557315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C2D6846-8EC2-486E-86C9-A0E121A6215C}"/>
              </a:ext>
            </a:extLst>
          </p:cNvPr>
          <p:cNvSpPr txBox="1">
            <a:spLocks/>
          </p:cNvSpPr>
          <p:nvPr/>
        </p:nvSpPr>
        <p:spPr>
          <a:xfrm>
            <a:off x="1778257" y="3003896"/>
            <a:ext cx="1249947" cy="3460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050" indent="0">
              <a:buFont typeface="Arial" panose="020B0604020202020204" pitchFamily="34" charset="0"/>
              <a:buNone/>
            </a:pPr>
            <a:r>
              <a:rPr lang="en-ID" sz="1000" dirty="0">
                <a:solidFill>
                  <a:srgbClr val="7030A0"/>
                </a:solidFill>
              </a:rPr>
              <a:t>Feature 1, 2 &amp; 3</a:t>
            </a:r>
            <a:endParaRPr lang="en-US" sz="1000" dirty="0">
              <a:solidFill>
                <a:srgbClr val="7030A0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4B9321D-142C-44DE-B8C5-B01940A3B20D}"/>
              </a:ext>
            </a:extLst>
          </p:cNvPr>
          <p:cNvSpPr txBox="1">
            <a:spLocks/>
          </p:cNvSpPr>
          <p:nvPr/>
        </p:nvSpPr>
        <p:spPr>
          <a:xfrm>
            <a:off x="6520212" y="2989385"/>
            <a:ext cx="1249947" cy="3460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indent="0">
              <a:buNone/>
            </a:pPr>
            <a:r>
              <a:rPr lang="en-ID" sz="1000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 1, 2 &amp; 4</a:t>
            </a:r>
            <a:endParaRPr lang="en-US" sz="1000" dirty="0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81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4836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EVALU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992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Random Forest </a:t>
            </a:r>
            <a:r>
              <a:rPr lang="en-ID" sz="2400" dirty="0">
                <a:latin typeface="Google Sans" panose="020B0503030502040204" pitchFamily="34" charset="0"/>
              </a:rPr>
              <a:t>successfully meet the </a:t>
            </a:r>
            <a:r>
              <a:rPr lang="en-ID" sz="2400" b="1" dirty="0">
                <a:latin typeface="Google Sans" panose="020B0503030502040204" pitchFamily="34" charset="0"/>
              </a:rPr>
              <a:t>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dirty="0">
                <a:latin typeface="Google Sans" panose="020B0503030502040204" pitchFamily="34" charset="0"/>
              </a:rPr>
              <a:t> </a:t>
            </a:r>
            <a:r>
              <a:rPr lang="en-ID" sz="2400" b="1" dirty="0">
                <a:latin typeface="Google Sans" panose="020B0503030502040204" pitchFamily="34" charset="0"/>
              </a:rPr>
              <a:t>objective for classification with 93.8% of AUC and 91% of F1-Scor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E40A73-2A62-4EB9-9FFC-93D2D344D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63" y="1751795"/>
            <a:ext cx="2980539" cy="10208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D0B8C6-0F84-4D0E-9CE4-3AC2FD6BA6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417" y="2500477"/>
            <a:ext cx="3101765" cy="30927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A3CDF1-DABE-49E4-A53F-F0ACF484ED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784" y="2984073"/>
            <a:ext cx="3642846" cy="260917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C2A346-4D09-41ED-95DD-1C22714166CD}"/>
              </a:ext>
            </a:extLst>
          </p:cNvPr>
          <p:cNvSpPr/>
          <p:nvPr/>
        </p:nvSpPr>
        <p:spPr>
          <a:xfrm>
            <a:off x="6509752" y="2638244"/>
            <a:ext cx="1287430" cy="1204734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CAE8F1-5A57-4B10-B59F-7E9D5E19977B}"/>
              </a:ext>
            </a:extLst>
          </p:cNvPr>
          <p:cNvSpPr txBox="1"/>
          <p:nvPr/>
        </p:nvSpPr>
        <p:spPr>
          <a:xfrm>
            <a:off x="8294646" y="2636438"/>
            <a:ext cx="3563647" cy="23083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There are potential </a:t>
            </a:r>
            <a:r>
              <a:rPr lang="en-US" b="1" dirty="0">
                <a:latin typeface="Google Sans" panose="020B0503030502040204" pitchFamily="34" charset="0"/>
              </a:rPr>
              <a:t>55k new numbers of takers</a:t>
            </a:r>
            <a:r>
              <a:rPr lang="en-US" dirty="0">
                <a:latin typeface="Google Sans" panose="020B0503030502040204" pitchFamily="34" charset="0"/>
              </a:rPr>
              <a:t> based on this algorithm. In total there are </a:t>
            </a:r>
            <a:r>
              <a:rPr lang="en-US" b="1" dirty="0">
                <a:latin typeface="Google Sans" panose="020B0503030502040204" pitchFamily="34" charset="0"/>
              </a:rPr>
              <a:t>406k potential package takers.</a:t>
            </a:r>
          </a:p>
          <a:p>
            <a:endParaRPr lang="en-US" b="1" dirty="0">
              <a:latin typeface="Google Sans" panose="020B0503030502040204" pitchFamily="34" charset="0"/>
            </a:endParaRPr>
          </a:p>
          <a:p>
            <a:r>
              <a:rPr lang="en-US" b="1" dirty="0">
                <a:latin typeface="Google Sans" panose="020B0503030502040204" pitchFamily="34" charset="0"/>
              </a:rPr>
              <a:t>44.2% taker rate, uplift +4% from previous data</a:t>
            </a:r>
            <a:endParaRPr lang="id-ID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679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3027215" y="125127"/>
            <a:ext cx="61375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RISP-DM</a:t>
            </a:r>
          </a:p>
          <a:p>
            <a:pPr algn="ctr"/>
            <a:r>
              <a:rPr lang="en-ID" sz="2400" b="1" dirty="0">
                <a:solidFill>
                  <a:srgbClr val="00B050"/>
                </a:solidFill>
                <a:latin typeface="Google Sans" panose="020B0503030502040204" pitchFamily="34" charset="0"/>
              </a:rPr>
              <a:t>RIDE-HAILING INTERNET PACKAGE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538651" y="2001652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2289" y="2680944"/>
            <a:ext cx="3198741" cy="23990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561168-DF7C-48BA-B79D-2CD0133390D1}"/>
              </a:ext>
            </a:extLst>
          </p:cNvPr>
          <p:cNvSpPr/>
          <p:nvPr/>
        </p:nvSpPr>
        <p:spPr>
          <a:xfrm>
            <a:off x="690958" y="203213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1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28750C-7306-4C27-BDAF-DF12DE3D55D6}"/>
              </a:ext>
            </a:extLst>
          </p:cNvPr>
          <p:cNvSpPr/>
          <p:nvPr/>
        </p:nvSpPr>
        <p:spPr>
          <a:xfrm>
            <a:off x="538651" y="355613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4FC73-8E40-4579-9594-57C4878A54FA}"/>
              </a:ext>
            </a:extLst>
          </p:cNvPr>
          <p:cNvSpPr/>
          <p:nvPr/>
        </p:nvSpPr>
        <p:spPr>
          <a:xfrm>
            <a:off x="690958" y="358661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2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CBE03D6-3560-4FB6-8F50-C8D0352FA11B}"/>
              </a:ext>
            </a:extLst>
          </p:cNvPr>
          <p:cNvSpPr/>
          <p:nvPr/>
        </p:nvSpPr>
        <p:spPr>
          <a:xfrm>
            <a:off x="538651" y="5127750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E79F27-0C16-4E86-94BA-17EE1EB21300}"/>
              </a:ext>
            </a:extLst>
          </p:cNvPr>
          <p:cNvSpPr/>
          <p:nvPr/>
        </p:nvSpPr>
        <p:spPr>
          <a:xfrm>
            <a:off x="690958" y="5158230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3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BDEFD1-DA60-431A-BCE6-F21770004F40}"/>
              </a:ext>
            </a:extLst>
          </p:cNvPr>
          <p:cNvSpPr/>
          <p:nvPr/>
        </p:nvSpPr>
        <p:spPr>
          <a:xfrm>
            <a:off x="7939990" y="2042424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E06B7A-2ADD-4F74-935C-9A6A1737F235}"/>
              </a:ext>
            </a:extLst>
          </p:cNvPr>
          <p:cNvSpPr/>
          <p:nvPr/>
        </p:nvSpPr>
        <p:spPr>
          <a:xfrm>
            <a:off x="8092297" y="2072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4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9D6AD1A-932B-42E6-95FC-5BC0EA6BCC6E}"/>
              </a:ext>
            </a:extLst>
          </p:cNvPr>
          <p:cNvSpPr/>
          <p:nvPr/>
        </p:nvSpPr>
        <p:spPr>
          <a:xfrm>
            <a:off x="7939990" y="3566424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11F887-C73D-4F5E-9968-75FA80296297}"/>
              </a:ext>
            </a:extLst>
          </p:cNvPr>
          <p:cNvSpPr/>
          <p:nvPr/>
        </p:nvSpPr>
        <p:spPr>
          <a:xfrm>
            <a:off x="8092297" y="3596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5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6E46F62-7D6B-442B-9971-2A19887F1530}"/>
              </a:ext>
            </a:extLst>
          </p:cNvPr>
          <p:cNvSpPr/>
          <p:nvPr/>
        </p:nvSpPr>
        <p:spPr>
          <a:xfrm>
            <a:off x="7939990" y="516852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D10485-06E3-4882-8FD6-3DE70539D09E}"/>
              </a:ext>
            </a:extLst>
          </p:cNvPr>
          <p:cNvSpPr/>
          <p:nvPr/>
        </p:nvSpPr>
        <p:spPr>
          <a:xfrm>
            <a:off x="8092297" y="519900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6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E76025-3BD7-4C06-8ACF-EB8255BB91BD}"/>
              </a:ext>
            </a:extLst>
          </p:cNvPr>
          <p:cNvSpPr txBox="1"/>
          <p:nvPr/>
        </p:nvSpPr>
        <p:spPr>
          <a:xfrm>
            <a:off x="1141562" y="205751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086A86-1C55-4C52-8DAB-C1A604E942D8}"/>
              </a:ext>
            </a:extLst>
          </p:cNvPr>
          <p:cNvSpPr txBox="1"/>
          <p:nvPr/>
        </p:nvSpPr>
        <p:spPr>
          <a:xfrm>
            <a:off x="1141561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DE3235-11E5-4DB7-AB89-65A8CDA548B2}"/>
              </a:ext>
            </a:extLst>
          </p:cNvPr>
          <p:cNvSpPr txBox="1"/>
          <p:nvPr/>
        </p:nvSpPr>
        <p:spPr>
          <a:xfrm>
            <a:off x="1141561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530328-A4E8-43F4-86CF-7C718E67C37F}"/>
              </a:ext>
            </a:extLst>
          </p:cNvPr>
          <p:cNvSpPr txBox="1"/>
          <p:nvPr/>
        </p:nvSpPr>
        <p:spPr>
          <a:xfrm>
            <a:off x="8610325" y="2116772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Modell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C9136C-2FFF-45AC-82B2-23634DC89C96}"/>
              </a:ext>
            </a:extLst>
          </p:cNvPr>
          <p:cNvSpPr txBox="1"/>
          <p:nvPr/>
        </p:nvSpPr>
        <p:spPr>
          <a:xfrm>
            <a:off x="8610325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FC178A-46C6-4DB7-AB83-350245573EAA}"/>
              </a:ext>
            </a:extLst>
          </p:cNvPr>
          <p:cNvSpPr txBox="1"/>
          <p:nvPr/>
        </p:nvSpPr>
        <p:spPr>
          <a:xfrm>
            <a:off x="8610325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3DAB81-0196-494E-BE6B-A095968AF450}"/>
              </a:ext>
            </a:extLst>
          </p:cNvPr>
          <p:cNvSpPr txBox="1"/>
          <p:nvPr/>
        </p:nvSpPr>
        <p:spPr>
          <a:xfrm>
            <a:off x="1148343" y="2368829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Understand objective and requirement from business perspective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8EF098-2CAF-429C-B2F4-903D981F4A1F}"/>
              </a:ext>
            </a:extLst>
          </p:cNvPr>
          <p:cNvSpPr txBox="1"/>
          <p:nvPr/>
        </p:nvSpPr>
        <p:spPr>
          <a:xfrm>
            <a:off x="1148343" y="4016780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Getting familiar with the data to form hypotheses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50421D-AFCA-44DB-9EE8-92854B550719}"/>
              </a:ext>
            </a:extLst>
          </p:cNvPr>
          <p:cNvSpPr txBox="1"/>
          <p:nvPr/>
        </p:nvSpPr>
        <p:spPr>
          <a:xfrm>
            <a:off x="1141560" y="55614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Construct dataset from raw data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0D33E9-6831-440C-A47A-892117FBDE3C}"/>
              </a:ext>
            </a:extLst>
          </p:cNvPr>
          <p:cNvSpPr txBox="1"/>
          <p:nvPr/>
        </p:nvSpPr>
        <p:spPr>
          <a:xfrm>
            <a:off x="8610325" y="24411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Building the model for desired outpu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0CA443-A618-4ADA-A91D-317975184BCD}"/>
              </a:ext>
            </a:extLst>
          </p:cNvPr>
          <p:cNvSpPr txBox="1"/>
          <p:nvPr/>
        </p:nvSpPr>
        <p:spPr>
          <a:xfrm>
            <a:off x="8610325" y="3970613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Assess the quality of the model based on requiremen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4E284C-9BAF-4BB8-8C0A-31FD455916F0}"/>
              </a:ext>
            </a:extLst>
          </p:cNvPr>
          <p:cNvSpPr txBox="1"/>
          <p:nvPr/>
        </p:nvSpPr>
        <p:spPr>
          <a:xfrm>
            <a:off x="8610325" y="5552945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Put the result to work and achieve the goals</a:t>
            </a:r>
            <a:endParaRPr lang="id-ID" sz="1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155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oogle Sans" panose="020B0503030502040204" pitchFamily="34" charset="0"/>
              </a:rPr>
              <a:t>F</a:t>
            </a:r>
            <a:r>
              <a:rPr lang="en-ID" sz="2400" b="1" dirty="0">
                <a:latin typeface="Google Sans" panose="020B0503030502040204" pitchFamily="34" charset="0"/>
              </a:rPr>
              <a:t>or the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, there are 3 main cluster </a:t>
            </a:r>
            <a:r>
              <a:rPr lang="en-ID" sz="2400" dirty="0">
                <a:latin typeface="Google Sans" panose="020B0503030502040204" pitchFamily="34" charset="0"/>
              </a:rPr>
              <a:t>with different behaviour and usage, resulting in different package pr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2072640" y="1161338"/>
            <a:ext cx="1927860" cy="179650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conomic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46.5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00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4866640" y="1161338"/>
            <a:ext cx="1927860" cy="179649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Mid Spend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26.7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5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5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7660640" y="1161338"/>
            <a:ext cx="1791091" cy="17964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5.68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7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5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C83533A-8F92-41EE-A5CD-43BB7E825D9E}"/>
              </a:ext>
            </a:extLst>
          </p:cNvPr>
          <p:cNvSpPr/>
          <p:nvPr/>
        </p:nvSpPr>
        <p:spPr>
          <a:xfrm>
            <a:off x="247672" y="3880230"/>
            <a:ext cx="1230923" cy="56959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Economic Custom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C8E459F-A2E8-412C-BE90-1473ED942CA5}"/>
              </a:ext>
            </a:extLst>
          </p:cNvPr>
          <p:cNvSpPr/>
          <p:nvPr/>
        </p:nvSpPr>
        <p:spPr>
          <a:xfrm>
            <a:off x="247671" y="4718430"/>
            <a:ext cx="1230923" cy="569596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id Spend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D43E5D-100F-4E24-8F14-CBCFADB2E601}"/>
              </a:ext>
            </a:extLst>
          </p:cNvPr>
          <p:cNvSpPr/>
          <p:nvPr/>
        </p:nvSpPr>
        <p:spPr>
          <a:xfrm>
            <a:off x="247671" y="5556630"/>
            <a:ext cx="1230923" cy="56959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Data Addict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030C76-B0BE-4C6D-B2BB-252D32518B6C}"/>
              </a:ext>
            </a:extLst>
          </p:cNvPr>
          <p:cNvCxnSpPr>
            <a:cxnSpLocks/>
          </p:cNvCxnSpPr>
          <p:nvPr/>
        </p:nvCxnSpPr>
        <p:spPr>
          <a:xfrm>
            <a:off x="1811215" y="4569797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DACD5CA-7A8E-4B87-859B-47F50707CD29}"/>
              </a:ext>
            </a:extLst>
          </p:cNvPr>
          <p:cNvCxnSpPr>
            <a:cxnSpLocks/>
          </p:cNvCxnSpPr>
          <p:nvPr/>
        </p:nvCxnSpPr>
        <p:spPr>
          <a:xfrm>
            <a:off x="1822941" y="5408000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647F47-B4B1-4E0C-93BB-C64658236E2A}"/>
              </a:ext>
            </a:extLst>
          </p:cNvPr>
          <p:cNvCxnSpPr>
            <a:cxnSpLocks/>
          </p:cNvCxnSpPr>
          <p:nvPr/>
        </p:nvCxnSpPr>
        <p:spPr>
          <a:xfrm>
            <a:off x="1778977" y="6190512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FBDBF25-563A-4702-892F-B59CAF849571}"/>
              </a:ext>
            </a:extLst>
          </p:cNvPr>
          <p:cNvSpPr txBox="1"/>
          <p:nvPr/>
        </p:nvSpPr>
        <p:spPr>
          <a:xfrm>
            <a:off x="1778977" y="4007527"/>
            <a:ext cx="61751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00.5k	92k	11 GB	112 Min	77	8.7%	52.8%</a:t>
            </a: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7870D0-7B65-48B0-8013-4A4E1EC7A4C9}"/>
              </a:ext>
            </a:extLst>
          </p:cNvPr>
          <p:cNvSpPr txBox="1"/>
          <p:nvPr/>
        </p:nvSpPr>
        <p:spPr>
          <a:xfrm>
            <a:off x="1811215" y="4813486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55k	144k	25 GB	144 Min	92	19%	37.7%</a:t>
            </a: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0B46A57-AC56-4F76-9EE2-7E9EB5DA404C}"/>
              </a:ext>
            </a:extLst>
          </p:cNvPr>
          <p:cNvSpPr txBox="1"/>
          <p:nvPr/>
        </p:nvSpPr>
        <p:spPr>
          <a:xfrm>
            <a:off x="1811214" y="5651687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275k	253k	51 GB	139 Min	84	43.7%	18.2%</a:t>
            </a:r>
            <a:endParaRPr lang="en-US" sz="12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19F447-8147-41C5-AD33-7A5B76AC8BE0}"/>
              </a:ext>
            </a:extLst>
          </p:cNvPr>
          <p:cNvSpPr/>
          <p:nvPr/>
        </p:nvSpPr>
        <p:spPr>
          <a:xfrm>
            <a:off x="3472982" y="5555614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3F7024A-69A6-4590-8C0B-5F7E09513E44}"/>
              </a:ext>
            </a:extLst>
          </p:cNvPr>
          <p:cNvSpPr/>
          <p:nvPr/>
        </p:nvSpPr>
        <p:spPr>
          <a:xfrm>
            <a:off x="6233745" y="556117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618BF6-84D1-41B0-A01C-AE412987A648}"/>
              </a:ext>
            </a:extLst>
          </p:cNvPr>
          <p:cNvSpPr/>
          <p:nvPr/>
        </p:nvSpPr>
        <p:spPr>
          <a:xfrm>
            <a:off x="4466589" y="4731092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40481A3-F267-4D5D-B638-2604756350AF}"/>
              </a:ext>
            </a:extLst>
          </p:cNvPr>
          <p:cNvSpPr/>
          <p:nvPr/>
        </p:nvSpPr>
        <p:spPr>
          <a:xfrm>
            <a:off x="1778978" y="3880230"/>
            <a:ext cx="1553307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D9B62F-EEF0-4E39-95C8-7AAE66B2011D}"/>
              </a:ext>
            </a:extLst>
          </p:cNvPr>
          <p:cNvSpPr txBox="1"/>
          <p:nvPr/>
        </p:nvSpPr>
        <p:spPr>
          <a:xfrm>
            <a:off x="8298456" y="3970554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Lowest </a:t>
            </a:r>
            <a:r>
              <a:rPr lang="en-ID" sz="1200" b="1" dirty="0">
                <a:latin typeface="Google Sans" panose="020B0503030502040204" pitchFamily="34" charset="0"/>
              </a:rPr>
              <a:t>ARPU &amp; data consumption.</a:t>
            </a:r>
          </a:p>
          <a:p>
            <a:r>
              <a:rPr lang="en-ID" sz="1200" dirty="0">
                <a:latin typeface="Google Sans" panose="020B0503030502040204" pitchFamily="34" charset="0"/>
              </a:rPr>
              <a:t>Usage primarily for </a:t>
            </a:r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apps</a:t>
            </a:r>
            <a:r>
              <a:rPr lang="en-ID" sz="1200" dirty="0">
                <a:latin typeface="Google Sans" panose="020B0503030502040204" pitchFamily="34" charset="0"/>
              </a:rPr>
              <a:t>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D00675-DA0C-4CDE-92BE-4BD15100D479}"/>
              </a:ext>
            </a:extLst>
          </p:cNvPr>
          <p:cNvSpPr txBox="1"/>
          <p:nvPr/>
        </p:nvSpPr>
        <p:spPr>
          <a:xfrm>
            <a:off x="8318968" y="5548838"/>
            <a:ext cx="321947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High </a:t>
            </a:r>
            <a:r>
              <a:rPr lang="en-ID" sz="1200" b="1" dirty="0">
                <a:latin typeface="Google Sans" panose="020B0503030502040204" pitchFamily="34" charset="0"/>
              </a:rPr>
              <a:t>data consumption</a:t>
            </a:r>
            <a:r>
              <a:rPr lang="en-ID" sz="1200" dirty="0">
                <a:latin typeface="Google Sans" panose="020B0503030502040204" pitchFamily="34" charset="0"/>
              </a:rPr>
              <a:t> &amp; dominant </a:t>
            </a:r>
            <a:r>
              <a:rPr lang="en-ID" sz="1200" b="1" dirty="0">
                <a:latin typeface="Google Sans" panose="020B0503030502040204" pitchFamily="34" charset="0"/>
              </a:rPr>
              <a:t>video &amp; social</a:t>
            </a:r>
            <a:r>
              <a:rPr lang="en-ID" sz="1200" dirty="0">
                <a:latin typeface="Google Sans" panose="020B0503030502040204" pitchFamily="34" charset="0"/>
              </a:rPr>
              <a:t> </a:t>
            </a:r>
            <a:r>
              <a:rPr lang="en-ID" sz="1200" b="1" dirty="0">
                <a:latin typeface="Google Sans" panose="020B0503030502040204" pitchFamily="34" charset="0"/>
              </a:rPr>
              <a:t>app</a:t>
            </a:r>
            <a:r>
              <a:rPr lang="en-ID" sz="1200" dirty="0">
                <a:latin typeface="Google Sans" panose="020B0503030502040204" pitchFamily="34" charset="0"/>
              </a:rPr>
              <a:t> usage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F0CB21-FBAC-4B67-83BC-93D16E5E59F0}"/>
              </a:ext>
            </a:extLst>
          </p:cNvPr>
          <p:cNvSpPr txBox="1"/>
          <p:nvPr/>
        </p:nvSpPr>
        <p:spPr>
          <a:xfrm>
            <a:off x="8298456" y="4717490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Medium </a:t>
            </a:r>
            <a:r>
              <a:rPr lang="en-ID" sz="1200" b="1" dirty="0">
                <a:latin typeface="Google Sans" panose="020B0503030502040204" pitchFamily="34" charset="0"/>
              </a:rPr>
              <a:t>ARPU &amp; payload</a:t>
            </a:r>
            <a:r>
              <a:rPr lang="en-ID" sz="1200" dirty="0">
                <a:latin typeface="Google Sans" panose="020B0503030502040204" pitchFamily="34" charset="0"/>
              </a:rPr>
              <a:t>, highest </a:t>
            </a:r>
            <a:r>
              <a:rPr lang="en-ID" sz="1200" b="1" dirty="0">
                <a:latin typeface="Google Sans" panose="020B0503030502040204" pitchFamily="34" charset="0"/>
              </a:rPr>
              <a:t>voice </a:t>
            </a:r>
            <a:r>
              <a:rPr lang="en-ID" sz="1200" b="1" dirty="0" err="1">
                <a:latin typeface="Google Sans" panose="020B0503030502040204" pitchFamily="34" charset="0"/>
              </a:rPr>
              <a:t>mou</a:t>
            </a:r>
            <a:r>
              <a:rPr lang="en-ID" sz="1200" b="1" dirty="0">
                <a:latin typeface="Google Sans" panose="020B0503030502040204" pitchFamily="34" charset="0"/>
              </a:rPr>
              <a:t> &amp; transaction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8ED15C-C92E-49AA-A2A2-BA19F1CB1D40}"/>
              </a:ext>
            </a:extLst>
          </p:cNvPr>
          <p:cNvSpPr txBox="1"/>
          <p:nvPr/>
        </p:nvSpPr>
        <p:spPr>
          <a:xfrm>
            <a:off x="1831696" y="3486289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0369AE-40C3-4AD2-9940-BCAA607645EB}"/>
              </a:ext>
            </a:extLst>
          </p:cNvPr>
          <p:cNvSpPr txBox="1"/>
          <p:nvPr/>
        </p:nvSpPr>
        <p:spPr>
          <a:xfrm>
            <a:off x="2551219" y="3486288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 Dat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A5D0CA-E03C-40C6-BA24-FD52E5C17EE9}"/>
              </a:ext>
            </a:extLst>
          </p:cNvPr>
          <p:cNvSpPr txBox="1"/>
          <p:nvPr/>
        </p:nvSpPr>
        <p:spPr>
          <a:xfrm>
            <a:off x="3571126" y="3489416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Payload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A6003A-99DE-497E-8F19-302139E27C5A}"/>
              </a:ext>
            </a:extLst>
          </p:cNvPr>
          <p:cNvSpPr txBox="1"/>
          <p:nvPr/>
        </p:nvSpPr>
        <p:spPr>
          <a:xfrm>
            <a:off x="4000500" y="3486288"/>
            <a:ext cx="16227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mo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8D1E73-4EAF-4335-B11B-A900BEB08721}"/>
              </a:ext>
            </a:extLst>
          </p:cNvPr>
          <p:cNvSpPr txBox="1"/>
          <p:nvPr/>
        </p:nvSpPr>
        <p:spPr>
          <a:xfrm>
            <a:off x="5205050" y="3497249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trx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AC1A479-5ACB-4E04-AE21-0E8A2CD60A55}"/>
              </a:ext>
            </a:extLst>
          </p:cNvPr>
          <p:cNvSpPr txBox="1"/>
          <p:nvPr/>
        </p:nvSpPr>
        <p:spPr>
          <a:xfrm>
            <a:off x="6024669" y="3396537"/>
            <a:ext cx="10648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ideo &amp;</a:t>
            </a:r>
          </a:p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Social Medi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30F2F6-9619-4213-9F10-31B03BB232A4}"/>
              </a:ext>
            </a:extLst>
          </p:cNvPr>
          <p:cNvSpPr txBox="1"/>
          <p:nvPr/>
        </p:nvSpPr>
        <p:spPr>
          <a:xfrm>
            <a:off x="7023333" y="3402873"/>
            <a:ext cx="12746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Transportation Apps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7162C11-8B68-4762-9CAB-2214720E5821}"/>
              </a:ext>
            </a:extLst>
          </p:cNvPr>
          <p:cNvSpPr txBox="1"/>
          <p:nvPr/>
        </p:nvSpPr>
        <p:spPr>
          <a:xfrm>
            <a:off x="8456718" y="3447045"/>
            <a:ext cx="27798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Description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C08052D-01E4-4998-908C-DD96503C7B6C}"/>
              </a:ext>
            </a:extLst>
          </p:cNvPr>
          <p:cNvSpPr/>
          <p:nvPr/>
        </p:nvSpPr>
        <p:spPr>
          <a:xfrm>
            <a:off x="7154009" y="391199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A03B73A4-F084-418F-83A1-042C4C1802F0}"/>
              </a:ext>
            </a:extLst>
          </p:cNvPr>
          <p:cNvSpPr/>
          <p:nvPr/>
        </p:nvSpPr>
        <p:spPr>
          <a:xfrm>
            <a:off x="1831696" y="4724959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819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3ECC29D-AE0E-4EF7-B6C7-3F6C7E9E6DB5}"/>
              </a:ext>
            </a:extLst>
          </p:cNvPr>
          <p:cNvSpPr/>
          <p:nvPr/>
        </p:nvSpPr>
        <p:spPr>
          <a:xfrm>
            <a:off x="2560322" y="1327909"/>
            <a:ext cx="9301251" cy="3270329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</a:t>
            </a:r>
            <a:r>
              <a:rPr lang="en-ID" sz="2400" dirty="0">
                <a:latin typeface="Google Sans" panose="020B0503030502040204" pitchFamily="34" charset="0"/>
              </a:rPr>
              <a:t>or the </a:t>
            </a:r>
            <a:r>
              <a:rPr lang="en-ID" sz="2400" b="1" dirty="0">
                <a:latin typeface="Google Sans" panose="020B0503030502040204" pitchFamily="34" charset="0"/>
              </a:rPr>
              <a:t>3</a:t>
            </a:r>
            <a:r>
              <a:rPr lang="en-ID" sz="2400" b="1" baseline="30000" dirty="0">
                <a:latin typeface="Google Sans" panose="020B0503030502040204" pitchFamily="34" charset="0"/>
              </a:rPr>
              <a:t>rd</a:t>
            </a:r>
            <a:r>
              <a:rPr lang="en-ID" sz="2400" b="1" dirty="0">
                <a:latin typeface="Google Sans" panose="020B0503030502040204" pitchFamily="34" charset="0"/>
              </a:rPr>
              <a:t> Objective</a:t>
            </a:r>
            <a:r>
              <a:rPr lang="en-ID" sz="2400" dirty="0">
                <a:latin typeface="Google Sans" panose="020B0503030502040204" pitchFamily="34" charset="0"/>
              </a:rPr>
              <a:t>, </a:t>
            </a:r>
            <a:r>
              <a:rPr lang="en-ID" sz="2400" b="1" dirty="0">
                <a:latin typeface="Google Sans" panose="020B0503030502040204" pitchFamily="34" charset="0"/>
              </a:rPr>
              <a:t>main cluster derived into each 3 sub-cluster </a:t>
            </a:r>
            <a:r>
              <a:rPr lang="en-ID" sz="2400" dirty="0">
                <a:latin typeface="Google Sans" panose="020B0503030502040204" pitchFamily="34" charset="0"/>
              </a:rPr>
              <a:t>each, resulting in </a:t>
            </a:r>
            <a:r>
              <a:rPr lang="en-ID" sz="2400" b="1" dirty="0">
                <a:latin typeface="Google Sans" panose="020B0503030502040204" pitchFamily="34" charset="0"/>
              </a:rPr>
              <a:t>9 different sub-cluster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340297" y="1140356"/>
            <a:ext cx="1630742" cy="110659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Economic</a:t>
            </a:r>
          </a:p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Custom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340297" y="2345969"/>
            <a:ext cx="1596021" cy="1083031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Mid Spend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381227" y="3528021"/>
            <a:ext cx="1548882" cy="1051043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Data Addic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0CC9787-C81B-4D13-92B8-0182B68C4CA1}"/>
              </a:ext>
            </a:extLst>
          </p:cNvPr>
          <p:cNvSpPr/>
          <p:nvPr/>
        </p:nvSpPr>
        <p:spPr>
          <a:xfrm>
            <a:off x="2560320" y="998729"/>
            <a:ext cx="2844800" cy="3069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Lower ARPU (&lt; IDR 75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93AD4-28B2-4DA0-93EF-520EFCAB1AC8}"/>
              </a:ext>
            </a:extLst>
          </p:cNvPr>
          <p:cNvSpPr/>
          <p:nvPr/>
        </p:nvSpPr>
        <p:spPr>
          <a:xfrm>
            <a:off x="5783611" y="998729"/>
            <a:ext cx="2844800" cy="3069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iddle ARPU (IDR 75k – 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3921FD-12E0-4788-844F-CB960505B970}"/>
              </a:ext>
            </a:extLst>
          </p:cNvPr>
          <p:cNvSpPr/>
          <p:nvPr/>
        </p:nvSpPr>
        <p:spPr>
          <a:xfrm>
            <a:off x="9006903" y="998729"/>
            <a:ext cx="2844800" cy="3069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Top ARPU (&gt;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8469D02-B44C-4032-9820-835C78D8BE14}"/>
              </a:ext>
            </a:extLst>
          </p:cNvPr>
          <p:cNvCxnSpPr>
            <a:cxnSpLocks/>
          </p:cNvCxnSpPr>
          <p:nvPr/>
        </p:nvCxnSpPr>
        <p:spPr>
          <a:xfrm>
            <a:off x="330427" y="3472141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AE539E-7753-4290-999A-53A98FA3EB96}"/>
              </a:ext>
            </a:extLst>
          </p:cNvPr>
          <p:cNvCxnSpPr>
            <a:cxnSpLocks/>
          </p:cNvCxnSpPr>
          <p:nvPr/>
        </p:nvCxnSpPr>
        <p:spPr>
          <a:xfrm>
            <a:off x="330427" y="2292590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174084-3922-4C60-B70E-AE2CC51F34EB}"/>
              </a:ext>
            </a:extLst>
          </p:cNvPr>
          <p:cNvCxnSpPr>
            <a:cxnSpLocks/>
          </p:cNvCxnSpPr>
          <p:nvPr/>
        </p:nvCxnSpPr>
        <p:spPr>
          <a:xfrm>
            <a:off x="554234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E2EBBF-BE26-4A0A-B0B1-F577E6CD86F4}"/>
              </a:ext>
            </a:extLst>
          </p:cNvPr>
          <p:cNvCxnSpPr>
            <a:cxnSpLocks/>
          </p:cNvCxnSpPr>
          <p:nvPr/>
        </p:nvCxnSpPr>
        <p:spPr>
          <a:xfrm>
            <a:off x="881386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CED2B62-7B4D-4C39-8E51-23A191C024B8}"/>
              </a:ext>
            </a:extLst>
          </p:cNvPr>
          <p:cNvSpPr/>
          <p:nvPr/>
        </p:nvSpPr>
        <p:spPr>
          <a:xfrm>
            <a:off x="3184712" y="1305656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.9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3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136930-3905-4D77-8E88-68F3CA82AE0F}"/>
              </a:ext>
            </a:extLst>
          </p:cNvPr>
          <p:cNvSpPr/>
          <p:nvPr/>
        </p:nvSpPr>
        <p:spPr>
          <a:xfrm>
            <a:off x="6456231" y="128778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5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0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AFD-1BAD-4364-9482-56D3B6396735}"/>
              </a:ext>
            </a:extLst>
          </p:cNvPr>
          <p:cNvSpPr/>
          <p:nvPr/>
        </p:nvSpPr>
        <p:spPr>
          <a:xfrm>
            <a:off x="3114885" y="239358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405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FAC94F-82AA-4583-951B-9CEF198C8A74}"/>
              </a:ext>
            </a:extLst>
          </p:cNvPr>
          <p:cNvSpPr/>
          <p:nvPr/>
        </p:nvSpPr>
        <p:spPr>
          <a:xfrm>
            <a:off x="6458355" y="237821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0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A0B2E1-2B85-4790-829D-004E2FC3E8E1}"/>
              </a:ext>
            </a:extLst>
          </p:cNvPr>
          <p:cNvSpPr/>
          <p:nvPr/>
        </p:nvSpPr>
        <p:spPr>
          <a:xfrm>
            <a:off x="9631295" y="2369157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5.5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9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7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1D9A14-64DA-4A41-852D-D70F232BD88F}"/>
              </a:ext>
            </a:extLst>
          </p:cNvPr>
          <p:cNvSpPr/>
          <p:nvPr/>
        </p:nvSpPr>
        <p:spPr>
          <a:xfrm>
            <a:off x="9631295" y="355329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5.3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28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D9EE3B-0121-4A98-A60E-FE17AFAAD47F}"/>
              </a:ext>
            </a:extLst>
          </p:cNvPr>
          <p:cNvSpPr/>
          <p:nvPr/>
        </p:nvSpPr>
        <p:spPr>
          <a:xfrm>
            <a:off x="6456231" y="3586452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06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17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4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795D9F-B304-4A41-9B43-EA0BBE41E035}"/>
              </a:ext>
            </a:extLst>
          </p:cNvPr>
          <p:cNvSpPr/>
          <p:nvPr/>
        </p:nvSpPr>
        <p:spPr>
          <a:xfrm>
            <a:off x="9573357" y="131623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6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8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BCDF6A-BCCA-41E6-91E0-AA898C3D645F}"/>
              </a:ext>
            </a:extLst>
          </p:cNvPr>
          <p:cNvSpPr/>
          <p:nvPr/>
        </p:nvSpPr>
        <p:spPr>
          <a:xfrm>
            <a:off x="3128897" y="354081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8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2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0 GB</a:t>
            </a:r>
            <a:endParaRPr lang="en-ID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48BC99-50D9-4402-AE92-B87B1AA40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0750" y="4868115"/>
            <a:ext cx="9045973" cy="167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635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6695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EPLOYMENT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571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Revenue projection from 1</a:t>
            </a:r>
            <a:r>
              <a:rPr lang="en-US" sz="2400" baseline="30000" dirty="0">
                <a:latin typeface="Google Sans" panose="020B0503030502040204" pitchFamily="34" charset="0"/>
              </a:rPr>
              <a:t>st</a:t>
            </a:r>
            <a:r>
              <a:rPr lang="en-US" sz="2400" dirty="0">
                <a:latin typeface="Google Sans" panose="020B0503030502040204" pitchFamily="34" charset="0"/>
              </a:rPr>
              <a:t> Objective can be seen from predicted takers, that add </a:t>
            </a:r>
            <a:r>
              <a:rPr lang="en-US" sz="2400" b="1" dirty="0">
                <a:latin typeface="Google Sans" panose="020B0503030502040204" pitchFamily="34" charset="0"/>
              </a:rPr>
              <a:t>4.12 billion rupiah </a:t>
            </a:r>
            <a:r>
              <a:rPr lang="en-US" sz="2400" dirty="0">
                <a:latin typeface="Google Sans" panose="020B0503030502040204" pitchFamily="34" charset="0"/>
              </a:rPr>
              <a:t>of additional revenu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0510A5E-0CCC-44F3-B507-9776CBD6ADF4}"/>
              </a:ext>
            </a:extLst>
          </p:cNvPr>
          <p:cNvSpPr/>
          <p:nvPr/>
        </p:nvSpPr>
        <p:spPr>
          <a:xfrm>
            <a:off x="1206304" y="1487104"/>
            <a:ext cx="3383281" cy="30692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aseline</a:t>
            </a:r>
            <a:endParaRPr lang="en-ID" sz="14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1EC1240-E8D3-4C14-9D21-0A791E710AB0}"/>
              </a:ext>
            </a:extLst>
          </p:cNvPr>
          <p:cNvSpPr txBox="1"/>
          <p:nvPr/>
        </p:nvSpPr>
        <p:spPr>
          <a:xfrm>
            <a:off x="1769157" y="2014643"/>
            <a:ext cx="2257574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547,418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1D3B5CE-C711-4F6B-9F7C-1B5EA7710CC4}"/>
              </a:ext>
            </a:extLst>
          </p:cNvPr>
          <p:cNvSpPr txBox="1"/>
          <p:nvPr/>
        </p:nvSpPr>
        <p:spPr>
          <a:xfrm>
            <a:off x="1777803" y="3161236"/>
            <a:ext cx="225757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75,000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Pric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13293A2-239D-4753-8507-D528AEA13662}"/>
              </a:ext>
            </a:extLst>
          </p:cNvPr>
          <p:cNvSpPr txBox="1"/>
          <p:nvPr/>
        </p:nvSpPr>
        <p:spPr>
          <a:xfrm>
            <a:off x="1777803" y="4757041"/>
            <a:ext cx="2257574" cy="8925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41.05 B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Revenu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5" name="Arrow: Down 64">
            <a:extLst>
              <a:ext uri="{FF2B5EF4-FFF2-40B4-BE49-F238E27FC236}">
                <a16:creationId xmlns:a16="http://schemas.microsoft.com/office/drawing/2014/main" id="{DD127D60-3245-4C84-BF6C-CBDA6F97ABFA}"/>
              </a:ext>
            </a:extLst>
          </p:cNvPr>
          <p:cNvSpPr/>
          <p:nvPr/>
        </p:nvSpPr>
        <p:spPr>
          <a:xfrm>
            <a:off x="2490030" y="4184718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C8F9427-ABA1-4E24-BBCC-EEA150363AC5}"/>
              </a:ext>
            </a:extLst>
          </p:cNvPr>
          <p:cNvSpPr/>
          <p:nvPr/>
        </p:nvSpPr>
        <p:spPr>
          <a:xfrm>
            <a:off x="7602415" y="1487103"/>
            <a:ext cx="3383281" cy="30692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With Modelling</a:t>
            </a:r>
            <a:endParaRPr lang="en-ID" sz="14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E917BD6-2202-45BD-A58B-137BF4336872}"/>
              </a:ext>
            </a:extLst>
          </p:cNvPr>
          <p:cNvSpPr txBox="1"/>
          <p:nvPr/>
        </p:nvSpPr>
        <p:spPr>
          <a:xfrm>
            <a:off x="8087895" y="2014642"/>
            <a:ext cx="2257574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+55,028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ED68B77-456C-4945-9A70-C02B57D2CAC1}"/>
              </a:ext>
            </a:extLst>
          </p:cNvPr>
          <p:cNvSpPr txBox="1"/>
          <p:nvPr/>
        </p:nvSpPr>
        <p:spPr>
          <a:xfrm>
            <a:off x="8096541" y="3161235"/>
            <a:ext cx="225757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75,000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Pric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0338432-FA82-4347-BDE5-CDD2E8115BB0}"/>
              </a:ext>
            </a:extLst>
          </p:cNvPr>
          <p:cNvSpPr txBox="1"/>
          <p:nvPr/>
        </p:nvSpPr>
        <p:spPr>
          <a:xfrm>
            <a:off x="8096541" y="4757040"/>
            <a:ext cx="2257574" cy="8925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800" b="1" dirty="0">
                <a:latin typeface="Google Sans" panose="020B0503030502040204" pitchFamily="34" charset="0"/>
              </a:rPr>
              <a:t>IDR 4.12 B</a:t>
            </a:r>
          </a:p>
          <a:p>
            <a:pPr algn="ctr"/>
            <a:r>
              <a:rPr lang="en-ID" sz="2400" dirty="0">
                <a:latin typeface="Google Sans" panose="020B0503030502040204" pitchFamily="34" charset="0"/>
              </a:rPr>
              <a:t>Add Revenue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70" name="Arrow: Down 69">
            <a:extLst>
              <a:ext uri="{FF2B5EF4-FFF2-40B4-BE49-F238E27FC236}">
                <a16:creationId xmlns:a16="http://schemas.microsoft.com/office/drawing/2014/main" id="{6FD0A644-844A-4B18-AEBF-AD94B8C4C1C2}"/>
              </a:ext>
            </a:extLst>
          </p:cNvPr>
          <p:cNvSpPr/>
          <p:nvPr/>
        </p:nvSpPr>
        <p:spPr>
          <a:xfrm>
            <a:off x="8808768" y="4184717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1" name="Arrow: Down 70">
            <a:extLst>
              <a:ext uri="{FF2B5EF4-FFF2-40B4-BE49-F238E27FC236}">
                <a16:creationId xmlns:a16="http://schemas.microsoft.com/office/drawing/2014/main" id="{C0EBEB50-6B34-4991-B571-323392EBD75A}"/>
              </a:ext>
            </a:extLst>
          </p:cNvPr>
          <p:cNvSpPr/>
          <p:nvPr/>
        </p:nvSpPr>
        <p:spPr>
          <a:xfrm rot="16200000">
            <a:off x="5728113" y="2323860"/>
            <a:ext cx="1015662" cy="1674751"/>
          </a:xfrm>
          <a:prstGeom prst="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31744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or the 2</a:t>
            </a:r>
            <a:r>
              <a:rPr lang="en-US" sz="2400" baseline="30000" dirty="0">
                <a:latin typeface="Google Sans" panose="020B0503030502040204" pitchFamily="34" charset="0"/>
              </a:rPr>
              <a:t>nd</a:t>
            </a:r>
            <a:r>
              <a:rPr lang="en-US" sz="2400" dirty="0">
                <a:latin typeface="Google Sans" panose="020B0503030502040204" pitchFamily="34" charset="0"/>
              </a:rPr>
              <a:t> Objective with changes in price offering based on ARPU we can even get additional revenue up to </a:t>
            </a:r>
            <a:r>
              <a:rPr lang="en-US" sz="2400" b="1" dirty="0">
                <a:latin typeface="Google Sans" panose="020B0503030502040204" pitchFamily="34" charset="0"/>
              </a:rPr>
              <a:t>IDR 9.35 Billion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CDEDD00-EC14-4F81-9C0D-62574C50D0AF}"/>
              </a:ext>
            </a:extLst>
          </p:cNvPr>
          <p:cNvSpPr/>
          <p:nvPr/>
        </p:nvSpPr>
        <p:spPr>
          <a:xfrm>
            <a:off x="2328252" y="1998036"/>
            <a:ext cx="1927860" cy="179650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conomic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46.5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00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F3EF51C-0A15-443C-AF5E-304B22916611}"/>
              </a:ext>
            </a:extLst>
          </p:cNvPr>
          <p:cNvSpPr/>
          <p:nvPr/>
        </p:nvSpPr>
        <p:spPr>
          <a:xfrm>
            <a:off x="5122252" y="1998036"/>
            <a:ext cx="1927860" cy="179649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Mid Spend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26.7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5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5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810B84D-1497-4455-A060-2A7DADD5DCB3}"/>
              </a:ext>
            </a:extLst>
          </p:cNvPr>
          <p:cNvSpPr/>
          <p:nvPr/>
        </p:nvSpPr>
        <p:spPr>
          <a:xfrm>
            <a:off x="7916252" y="1998036"/>
            <a:ext cx="1791091" cy="17964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5.68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7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5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ED97B2-7F20-4E0E-8045-955469A838E1}"/>
              </a:ext>
            </a:extLst>
          </p:cNvPr>
          <p:cNvSpPr txBox="1"/>
          <p:nvPr/>
        </p:nvSpPr>
        <p:spPr>
          <a:xfrm>
            <a:off x="3768185" y="1164090"/>
            <a:ext cx="4148067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78,917 </a:t>
            </a:r>
            <a:r>
              <a:rPr lang="en-ID" sz="2400" dirty="0">
                <a:latin typeface="Google Sans" panose="020B0503030502040204" pitchFamily="34" charset="0"/>
              </a:rPr>
              <a:t>Takers</a:t>
            </a:r>
            <a:endParaRPr lang="en-US" sz="2400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8E02E1-A65A-4E51-B951-71DE2CED847F}"/>
              </a:ext>
            </a:extLst>
          </p:cNvPr>
          <p:cNvSpPr txBox="1"/>
          <p:nvPr/>
        </p:nvSpPr>
        <p:spPr>
          <a:xfrm>
            <a:off x="2230413" y="3982160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3.88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90353D0-4CC0-4A5A-8FE0-538737E72E32}"/>
              </a:ext>
            </a:extLst>
          </p:cNvPr>
          <p:cNvSpPr txBox="1"/>
          <p:nvPr/>
        </p:nvSpPr>
        <p:spPr>
          <a:xfrm>
            <a:off x="5024413" y="3982149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4.02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E75063-026E-443B-A709-FECD367AD5C1}"/>
              </a:ext>
            </a:extLst>
          </p:cNvPr>
          <p:cNvSpPr txBox="1"/>
          <p:nvPr/>
        </p:nvSpPr>
        <p:spPr>
          <a:xfrm>
            <a:off x="7863108" y="3982139"/>
            <a:ext cx="2123537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1.44 </a:t>
            </a:r>
            <a:r>
              <a:rPr lang="en-ID" sz="2000" dirty="0">
                <a:latin typeface="Google Sans" panose="020B0503030502040204" pitchFamily="34" charset="0"/>
              </a:rPr>
              <a:t>Billion</a:t>
            </a:r>
            <a:endParaRPr lang="en-US" sz="2000" dirty="0">
              <a:latin typeface="Google Sans" panose="020B0503030502040204" pitchFamily="34" charset="0"/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725B8D07-31D1-4D23-B721-F6652B498506}"/>
              </a:ext>
            </a:extLst>
          </p:cNvPr>
          <p:cNvSpPr/>
          <p:nvPr/>
        </p:nvSpPr>
        <p:spPr>
          <a:xfrm>
            <a:off x="5122252" y="4569874"/>
            <a:ext cx="1810411" cy="52214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98C020-19BE-424A-9F7B-EA97CB509257}"/>
              </a:ext>
            </a:extLst>
          </p:cNvPr>
          <p:cNvSpPr txBox="1"/>
          <p:nvPr/>
        </p:nvSpPr>
        <p:spPr>
          <a:xfrm>
            <a:off x="3768185" y="5466460"/>
            <a:ext cx="4148067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IDR 9.35 </a:t>
            </a:r>
            <a:r>
              <a:rPr lang="en-ID" sz="2400" dirty="0">
                <a:latin typeface="Google Sans" panose="020B0503030502040204" pitchFamily="34" charset="0"/>
              </a:rPr>
              <a:t>Billions</a:t>
            </a:r>
            <a:endParaRPr lang="en-US" sz="2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7098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extBox 118">
            <a:extLst>
              <a:ext uri="{FF2B5EF4-FFF2-40B4-BE49-F238E27FC236}">
                <a16:creationId xmlns:a16="http://schemas.microsoft.com/office/drawing/2014/main" id="{CCA8B015-C4AF-4F40-B479-A83FA21E1859}"/>
              </a:ext>
            </a:extLst>
          </p:cNvPr>
          <p:cNvSpPr txBox="1"/>
          <p:nvPr/>
        </p:nvSpPr>
        <p:spPr>
          <a:xfrm>
            <a:off x="7362989" y="3922872"/>
            <a:ext cx="4598491" cy="26528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normAutofit/>
          </a:bodyPr>
          <a:lstStyle/>
          <a:p>
            <a:pPr algn="ctr"/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D83FE8A-E661-493F-AE60-C7B3422D484B}"/>
              </a:ext>
            </a:extLst>
          </p:cNvPr>
          <p:cNvSpPr txBox="1"/>
          <p:nvPr/>
        </p:nvSpPr>
        <p:spPr>
          <a:xfrm>
            <a:off x="253464" y="1515519"/>
            <a:ext cx="6924807" cy="50609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id-ID" sz="1200" dirty="0">
              <a:latin typeface="Google Sans" panose="020B050303050204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or the deployment of 3</a:t>
            </a:r>
            <a:r>
              <a:rPr lang="en-US" sz="2400" baseline="30000" dirty="0">
                <a:latin typeface="Google Sans" panose="020B0503030502040204" pitchFamily="34" charset="0"/>
              </a:rPr>
              <a:t>rd</a:t>
            </a:r>
            <a:r>
              <a:rPr lang="en-US" sz="2400" dirty="0">
                <a:latin typeface="Google Sans" panose="020B0503030502040204" pitchFamily="34" charset="0"/>
              </a:rPr>
              <a:t> objective, there are </a:t>
            </a:r>
            <a:r>
              <a:rPr lang="en-US" sz="2400" b="1" dirty="0">
                <a:latin typeface="Google Sans" panose="020B0503030502040204" pitchFamily="34" charset="0"/>
              </a:rPr>
              <a:t>4 sub-cluster selected based on price and population siz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799D305-19A7-48A2-A48C-3F338CC17D53}"/>
              </a:ext>
            </a:extLst>
          </p:cNvPr>
          <p:cNvCxnSpPr/>
          <p:nvPr/>
        </p:nvCxnSpPr>
        <p:spPr>
          <a:xfrm flipV="1">
            <a:off x="773723" y="2110154"/>
            <a:ext cx="0" cy="4255477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2A8C89A-2A16-40DD-A836-6207038EDFC1}"/>
              </a:ext>
            </a:extLst>
          </p:cNvPr>
          <p:cNvCxnSpPr>
            <a:cxnSpLocks/>
          </p:cNvCxnSpPr>
          <p:nvPr/>
        </p:nvCxnSpPr>
        <p:spPr>
          <a:xfrm flipV="1">
            <a:off x="773723" y="6365631"/>
            <a:ext cx="5715000" cy="1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B5DA34B-29DB-40EE-A0E2-3878E05932B8}"/>
              </a:ext>
            </a:extLst>
          </p:cNvPr>
          <p:cNvCxnSpPr/>
          <p:nvPr/>
        </p:nvCxnSpPr>
        <p:spPr>
          <a:xfrm flipV="1">
            <a:off x="3631223" y="2110153"/>
            <a:ext cx="0" cy="4255477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9F4F5E8-5BAC-49FF-A869-3E054F55C89B}"/>
              </a:ext>
            </a:extLst>
          </p:cNvPr>
          <p:cNvCxnSpPr>
            <a:cxnSpLocks/>
          </p:cNvCxnSpPr>
          <p:nvPr/>
        </p:nvCxnSpPr>
        <p:spPr>
          <a:xfrm>
            <a:off x="773723" y="4167553"/>
            <a:ext cx="5794131" cy="0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A80B2EBF-A0DC-49EA-B31A-E967627066B5}"/>
              </a:ext>
            </a:extLst>
          </p:cNvPr>
          <p:cNvSpPr txBox="1"/>
          <p:nvPr/>
        </p:nvSpPr>
        <p:spPr>
          <a:xfrm>
            <a:off x="268616" y="1740821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Price/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CF0CBFD-05B2-4D4E-8787-F2CD52EF2C89}"/>
              </a:ext>
            </a:extLst>
          </p:cNvPr>
          <p:cNvSpPr txBox="1"/>
          <p:nvPr/>
        </p:nvSpPr>
        <p:spPr>
          <a:xfrm>
            <a:off x="6547239" y="6207116"/>
            <a:ext cx="692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Subs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8DF6195-4E45-4AEB-A0E3-082DB8979E5D}"/>
              </a:ext>
            </a:extLst>
          </p:cNvPr>
          <p:cNvSpPr/>
          <p:nvPr/>
        </p:nvSpPr>
        <p:spPr>
          <a:xfrm>
            <a:off x="3147460" y="4564700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A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D41C5341-1EF2-4D14-A9E9-9026652AC6C0}"/>
              </a:ext>
            </a:extLst>
          </p:cNvPr>
          <p:cNvSpPr/>
          <p:nvPr/>
        </p:nvSpPr>
        <p:spPr>
          <a:xfrm>
            <a:off x="6006350" y="2889893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5676FA2-955C-4F2F-97CA-93F0CA05346F}"/>
              </a:ext>
            </a:extLst>
          </p:cNvPr>
          <p:cNvSpPr/>
          <p:nvPr/>
        </p:nvSpPr>
        <p:spPr>
          <a:xfrm>
            <a:off x="4758502" y="2143720"/>
            <a:ext cx="395650" cy="39565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230CBF2-9561-4CDA-8E83-DD3DF9577F02}"/>
              </a:ext>
            </a:extLst>
          </p:cNvPr>
          <p:cNvSpPr/>
          <p:nvPr/>
        </p:nvSpPr>
        <p:spPr>
          <a:xfrm>
            <a:off x="2170547" y="5495227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D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8FCEF12-D2DC-4718-9B5E-E6C3A6531BCA}"/>
              </a:ext>
            </a:extLst>
          </p:cNvPr>
          <p:cNvSpPr/>
          <p:nvPr/>
        </p:nvSpPr>
        <p:spPr>
          <a:xfrm>
            <a:off x="5127550" y="4511299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E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76C6C97-99ED-406F-9454-6394A47B4136}"/>
              </a:ext>
            </a:extLst>
          </p:cNvPr>
          <p:cNvSpPr/>
          <p:nvPr/>
        </p:nvSpPr>
        <p:spPr>
          <a:xfrm>
            <a:off x="5556816" y="3276810"/>
            <a:ext cx="395650" cy="3956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6A3B63B-CB17-43C2-8D47-F5C34908A9E4}"/>
              </a:ext>
            </a:extLst>
          </p:cNvPr>
          <p:cNvSpPr/>
          <p:nvPr/>
        </p:nvSpPr>
        <p:spPr>
          <a:xfrm>
            <a:off x="1541422" y="5098191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H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70EB115-B872-4E95-9C00-5E351D513AB5}"/>
              </a:ext>
            </a:extLst>
          </p:cNvPr>
          <p:cNvSpPr/>
          <p:nvPr/>
        </p:nvSpPr>
        <p:spPr>
          <a:xfrm>
            <a:off x="3803216" y="3087718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FA98879-F543-4F6D-A0A0-D2507BC3B1BF}"/>
              </a:ext>
            </a:extLst>
          </p:cNvPr>
          <p:cNvSpPr/>
          <p:nvPr/>
        </p:nvSpPr>
        <p:spPr>
          <a:xfrm>
            <a:off x="1104667" y="5784514"/>
            <a:ext cx="395650" cy="3956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G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8A5C68-C70F-4845-A9D0-FE94724AAE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6285" y="2053502"/>
            <a:ext cx="4740904" cy="1492646"/>
          </a:xfrm>
          <a:prstGeom prst="rect">
            <a:avLst/>
          </a:prstGeom>
        </p:spPr>
      </p:pic>
      <p:sp>
        <p:nvSpPr>
          <p:cNvPr id="92" name="Oval 91">
            <a:extLst>
              <a:ext uri="{FF2B5EF4-FFF2-40B4-BE49-F238E27FC236}">
                <a16:creationId xmlns:a16="http://schemas.microsoft.com/office/drawing/2014/main" id="{40E06379-8C4E-40F5-86BF-DB8DA40A2884}"/>
              </a:ext>
            </a:extLst>
          </p:cNvPr>
          <p:cNvSpPr/>
          <p:nvPr/>
        </p:nvSpPr>
        <p:spPr>
          <a:xfrm>
            <a:off x="9051294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A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C060D9B-9136-4544-8501-6695CED251B2}"/>
              </a:ext>
            </a:extLst>
          </p:cNvPr>
          <p:cNvSpPr/>
          <p:nvPr/>
        </p:nvSpPr>
        <p:spPr>
          <a:xfrm>
            <a:off x="10395103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7BE2F22-E43D-486D-878A-D3483EED98D7}"/>
              </a:ext>
            </a:extLst>
          </p:cNvPr>
          <p:cNvSpPr/>
          <p:nvPr/>
        </p:nvSpPr>
        <p:spPr>
          <a:xfrm>
            <a:off x="11680755" y="2257443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79AC9CD2-4C90-42DD-AD29-290CD796C152}"/>
              </a:ext>
            </a:extLst>
          </p:cNvPr>
          <p:cNvSpPr/>
          <p:nvPr/>
        </p:nvSpPr>
        <p:spPr>
          <a:xfrm>
            <a:off x="9051294" y="267515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D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EE3A176-20FC-4F05-A7FB-E5AC4829A0DD}"/>
              </a:ext>
            </a:extLst>
          </p:cNvPr>
          <p:cNvSpPr/>
          <p:nvPr/>
        </p:nvSpPr>
        <p:spPr>
          <a:xfrm>
            <a:off x="10395103" y="270519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E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FC3283C2-625F-47EC-92BC-983E51F50C2A}"/>
              </a:ext>
            </a:extLst>
          </p:cNvPr>
          <p:cNvSpPr/>
          <p:nvPr/>
        </p:nvSpPr>
        <p:spPr>
          <a:xfrm>
            <a:off x="11680755" y="2705191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365C3ABF-622F-46AD-B18E-419F49FF056C}"/>
              </a:ext>
            </a:extLst>
          </p:cNvPr>
          <p:cNvSpPr/>
          <p:nvPr/>
        </p:nvSpPr>
        <p:spPr>
          <a:xfrm>
            <a:off x="10395103" y="3154292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H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4FE0E10F-9335-4E34-BC02-E89F15947644}"/>
              </a:ext>
            </a:extLst>
          </p:cNvPr>
          <p:cNvSpPr/>
          <p:nvPr/>
        </p:nvSpPr>
        <p:spPr>
          <a:xfrm>
            <a:off x="11680755" y="3188076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17660350-83A4-4872-B774-59CE053CAD4D}"/>
              </a:ext>
            </a:extLst>
          </p:cNvPr>
          <p:cNvSpPr/>
          <p:nvPr/>
        </p:nvSpPr>
        <p:spPr>
          <a:xfrm>
            <a:off x="9051294" y="3138666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G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665225D-3A37-4D0B-A796-6C535F37F0D9}"/>
              </a:ext>
            </a:extLst>
          </p:cNvPr>
          <p:cNvSpPr txBox="1"/>
          <p:nvPr/>
        </p:nvSpPr>
        <p:spPr>
          <a:xfrm>
            <a:off x="1263341" y="42466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Low Price, Low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955DC85-AD54-4360-9B07-9B3FA68E8C69}"/>
              </a:ext>
            </a:extLst>
          </p:cNvPr>
          <p:cNvSpPr txBox="1"/>
          <p:nvPr/>
        </p:nvSpPr>
        <p:spPr>
          <a:xfrm>
            <a:off x="4854831" y="15807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High Price, Mass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1DD8EE8-E000-4B22-9B4C-AFCF633E2216}"/>
              </a:ext>
            </a:extLst>
          </p:cNvPr>
          <p:cNvSpPr txBox="1"/>
          <p:nvPr/>
        </p:nvSpPr>
        <p:spPr>
          <a:xfrm>
            <a:off x="4688761" y="4246658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Low Price, Mass 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9717113-6F67-4B51-A068-AAF3910461D4}"/>
              </a:ext>
            </a:extLst>
          </p:cNvPr>
          <p:cNvSpPr txBox="1"/>
          <p:nvPr/>
        </p:nvSpPr>
        <p:spPr>
          <a:xfrm>
            <a:off x="1410275" y="1620463"/>
            <a:ext cx="22575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High Price, </a:t>
            </a:r>
            <a:r>
              <a:rPr lang="en-ID" sz="1200" dirty="0" err="1">
                <a:latin typeface="Google Sans" panose="020B0503030502040204" pitchFamily="34" charset="0"/>
              </a:rPr>
              <a:t>LowPopulation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A74C121-1324-4F39-AF94-F4335E38F97E}"/>
              </a:ext>
            </a:extLst>
          </p:cNvPr>
          <p:cNvSpPr/>
          <p:nvPr/>
        </p:nvSpPr>
        <p:spPr>
          <a:xfrm>
            <a:off x="3657351" y="1897461"/>
            <a:ext cx="3138818" cy="2170827"/>
          </a:xfrm>
          <a:prstGeom prst="ellipse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ACD1A9D-01D7-451B-BBF5-4DF98A32AF72}"/>
              </a:ext>
            </a:extLst>
          </p:cNvPr>
          <p:cNvSpPr/>
          <p:nvPr/>
        </p:nvSpPr>
        <p:spPr>
          <a:xfrm rot="2934888">
            <a:off x="10249597" y="1958818"/>
            <a:ext cx="2201416" cy="1387239"/>
          </a:xfrm>
          <a:prstGeom prst="ellipse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7E86047-A5E3-4FCA-8D93-E348A2C1ED31}"/>
              </a:ext>
            </a:extLst>
          </p:cNvPr>
          <p:cNvSpPr txBox="1"/>
          <p:nvPr/>
        </p:nvSpPr>
        <p:spPr>
          <a:xfrm>
            <a:off x="7604776" y="4215781"/>
            <a:ext cx="2257574" cy="276999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Hemat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B35206E-1282-42EE-974D-B64483CF5F06}"/>
              </a:ext>
            </a:extLst>
          </p:cNvPr>
          <p:cNvSpPr txBox="1"/>
          <p:nvPr/>
        </p:nvSpPr>
        <p:spPr>
          <a:xfrm>
            <a:off x="7623333" y="5705340"/>
            <a:ext cx="2257574" cy="276999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Juara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53BC03D-3A0F-49A7-BEE5-A4D9EA525EF1}"/>
              </a:ext>
            </a:extLst>
          </p:cNvPr>
          <p:cNvSpPr txBox="1"/>
          <p:nvPr/>
        </p:nvSpPr>
        <p:spPr>
          <a:xfrm>
            <a:off x="7623333" y="4939166"/>
            <a:ext cx="2257574" cy="276999"/>
          </a:xfrm>
          <a:prstGeom prst="rect">
            <a:avLst/>
          </a:prstGeom>
          <a:solidFill>
            <a:srgbClr val="92D1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</a:t>
            </a:r>
            <a:r>
              <a:rPr lang="en-ID" sz="1200" b="1" dirty="0" err="1">
                <a:latin typeface="Google Sans" panose="020B0503030502040204" pitchFamily="34" charset="0"/>
              </a:rPr>
              <a:t>Gaspol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F584E27C-1D75-4B79-B692-E1A8658C7575}"/>
              </a:ext>
            </a:extLst>
          </p:cNvPr>
          <p:cNvSpPr/>
          <p:nvPr/>
        </p:nvSpPr>
        <p:spPr>
          <a:xfrm>
            <a:off x="8282585" y="4565441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B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373DE46-54EF-4406-9E53-9D51D5BDA1DD}"/>
              </a:ext>
            </a:extLst>
          </p:cNvPr>
          <p:cNvSpPr/>
          <p:nvPr/>
        </p:nvSpPr>
        <p:spPr>
          <a:xfrm>
            <a:off x="8628925" y="5318989"/>
            <a:ext cx="258276" cy="25827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C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BBD365A9-0E22-4691-9FF5-FDEF70F138ED}"/>
              </a:ext>
            </a:extLst>
          </p:cNvPr>
          <p:cNvSpPr/>
          <p:nvPr/>
        </p:nvSpPr>
        <p:spPr>
          <a:xfrm>
            <a:off x="8893102" y="4572926"/>
            <a:ext cx="258276" cy="25827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F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783A9DFE-B7BB-419F-8D3C-842F355065CA}"/>
              </a:ext>
            </a:extLst>
          </p:cNvPr>
          <p:cNvSpPr/>
          <p:nvPr/>
        </p:nvSpPr>
        <p:spPr>
          <a:xfrm>
            <a:off x="8622062" y="6106257"/>
            <a:ext cx="258276" cy="258276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oogle Sans" panose="020B0503030502040204" pitchFamily="34" charset="0"/>
              </a:rPr>
              <a:t>I</a:t>
            </a:r>
            <a:endParaRPr lang="en-ID" sz="1400" b="1" dirty="0">
              <a:latin typeface="Google Sans" panose="020B050303050204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E2F566D-A147-418F-AB1B-308019EE1D30}"/>
              </a:ext>
            </a:extLst>
          </p:cNvPr>
          <p:cNvSpPr txBox="1"/>
          <p:nvPr/>
        </p:nvSpPr>
        <p:spPr>
          <a:xfrm>
            <a:off x="268616" y="1078681"/>
            <a:ext cx="6909655" cy="3385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</a:t>
            </a:r>
            <a:r>
              <a:rPr lang="en-ID" sz="1600" b="1" dirty="0" err="1">
                <a:latin typeface="Google Sans" panose="020B0503030502040204" pitchFamily="34" charset="0"/>
              </a:rPr>
              <a:t>atrix</a:t>
            </a:r>
            <a:r>
              <a:rPr lang="en-ID" sz="1600" b="1" dirty="0">
                <a:latin typeface="Google Sans" panose="020B0503030502040204" pitchFamily="34" charset="0"/>
              </a:rPr>
              <a:t> of Sub-Cluster Based on Population and Pricing</a:t>
            </a:r>
            <a:endParaRPr lang="en-US" sz="1600" b="1" dirty="0">
              <a:latin typeface="Google Sans" panose="020B050303050204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9C864EA-2702-41FF-B7AE-0918C816CAE4}"/>
              </a:ext>
            </a:extLst>
          </p:cNvPr>
          <p:cNvSpPr txBox="1"/>
          <p:nvPr/>
        </p:nvSpPr>
        <p:spPr>
          <a:xfrm>
            <a:off x="7339493" y="1099536"/>
            <a:ext cx="4740905" cy="5847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Choose Sub-Cluster to be deployed into Internet Package</a:t>
            </a: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BE7B63F-F457-4DAD-825B-4FA094DDAFB3}"/>
              </a:ext>
            </a:extLst>
          </p:cNvPr>
          <p:cNvSpPr/>
          <p:nvPr/>
        </p:nvSpPr>
        <p:spPr>
          <a:xfrm>
            <a:off x="9648468" y="3577987"/>
            <a:ext cx="833120" cy="522140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9A6E35D-77AA-44CA-A8D9-D817AE2A9C91}"/>
              </a:ext>
            </a:extLst>
          </p:cNvPr>
          <p:cNvSpPr txBox="1"/>
          <p:nvPr/>
        </p:nvSpPr>
        <p:spPr>
          <a:xfrm>
            <a:off x="10104137" y="4313361"/>
            <a:ext cx="17462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There are 4 sub-cluster that have high potential as the population is mass and the </a:t>
            </a:r>
            <a:r>
              <a:rPr lang="en-US" sz="1600" dirty="0" err="1">
                <a:latin typeface="Google Sans" panose="020B0503030502040204" pitchFamily="34" charset="0"/>
              </a:rPr>
              <a:t>arpu</a:t>
            </a:r>
            <a:r>
              <a:rPr lang="en-US" sz="1600" dirty="0">
                <a:latin typeface="Google Sans" panose="020B0503030502040204" pitchFamily="34" charset="0"/>
              </a:rPr>
              <a:t>/</a:t>
            </a:r>
            <a:r>
              <a:rPr lang="en-US" sz="1600" dirty="0" err="1">
                <a:latin typeface="Google Sans" panose="020B0503030502040204" pitchFamily="34" charset="0"/>
              </a:rPr>
              <a:t>gb</a:t>
            </a:r>
            <a:r>
              <a:rPr lang="en-US" sz="1600" dirty="0">
                <a:latin typeface="Google Sans" panose="020B0503030502040204" pitchFamily="34" charset="0"/>
              </a:rPr>
              <a:t> is high</a:t>
            </a:r>
          </a:p>
        </p:txBody>
      </p:sp>
    </p:spTree>
    <p:extLst>
      <p:ext uri="{BB962C8B-B14F-4D97-AF65-F5344CB8AC3E}">
        <p14:creationId xmlns:p14="http://schemas.microsoft.com/office/powerpoint/2010/main" val="29284546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2C8654E-6EF2-4E62-A915-D033351FC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336" y="1959099"/>
            <a:ext cx="1540252" cy="24215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AAEA58D-B6A5-BC41-9819-4D977F02BC69}"/>
              </a:ext>
            </a:extLst>
          </p:cNvPr>
          <p:cNvSpPr txBox="1"/>
          <p:nvPr/>
        </p:nvSpPr>
        <p:spPr>
          <a:xfrm>
            <a:off x="923157" y="20594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.. before deciding package offering, we need to understand </a:t>
            </a:r>
            <a:r>
              <a:rPr lang="en-US" sz="2400" b="1" dirty="0">
                <a:latin typeface="Google Sans" panose="020B0503030502040204" pitchFamily="34" charset="0"/>
              </a:rPr>
              <a:t>profitability of baseline package </a:t>
            </a:r>
            <a:r>
              <a:rPr lang="en-US" sz="2400" dirty="0">
                <a:latin typeface="Google Sans" panose="020B0503030502040204" pitchFamily="34" charset="0"/>
              </a:rPr>
              <a:t>from each operato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0E2879C-987C-DF47-826A-1EB7D30713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AAA08D6-E4BB-DA47-A556-1F3F09A023EA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C54A16-A43D-2F47-A6F6-7AB44BC3D735}"/>
              </a:ext>
            </a:extLst>
          </p:cNvPr>
          <p:cNvSpPr/>
          <p:nvPr/>
        </p:nvSpPr>
        <p:spPr>
          <a:xfrm>
            <a:off x="8187415" y="1359634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A22B6F-7D0E-2F4C-8C1D-A108DACF14D3}"/>
              </a:ext>
            </a:extLst>
          </p:cNvPr>
          <p:cNvSpPr/>
          <p:nvPr/>
        </p:nvSpPr>
        <p:spPr>
          <a:xfrm>
            <a:off x="4191360" y="1359633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AE83A0-D257-9A46-87EC-E40ED67A377A}"/>
              </a:ext>
            </a:extLst>
          </p:cNvPr>
          <p:cNvSpPr/>
          <p:nvPr/>
        </p:nvSpPr>
        <p:spPr>
          <a:xfrm>
            <a:off x="195305" y="1359635"/>
            <a:ext cx="3809280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FB56FC-5B7A-FD45-9575-78FB52953449}"/>
              </a:ext>
            </a:extLst>
          </p:cNvPr>
          <p:cNvSpPr/>
          <p:nvPr/>
        </p:nvSpPr>
        <p:spPr>
          <a:xfrm>
            <a:off x="195305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TSEL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3FBE55-4723-C148-95C5-C0A5E4993989}"/>
              </a:ext>
            </a:extLst>
          </p:cNvPr>
          <p:cNvSpPr/>
          <p:nvPr/>
        </p:nvSpPr>
        <p:spPr>
          <a:xfrm>
            <a:off x="4191360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ISA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2D7686-8297-E846-A5AF-0B6B8FCBA5F8}"/>
              </a:ext>
            </a:extLst>
          </p:cNvPr>
          <p:cNvSpPr/>
          <p:nvPr/>
        </p:nvSpPr>
        <p:spPr>
          <a:xfrm>
            <a:off x="8187415" y="1359633"/>
            <a:ext cx="380928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XCL</a:t>
            </a:r>
            <a:endParaRPr lang="en-ID" b="1" dirty="0">
              <a:latin typeface="Google Sans" panose="020B0503030502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A56445E-976B-FE46-B175-511368FA8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1414" y="1856744"/>
            <a:ext cx="3276384" cy="262377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EEE2643-6765-5C47-8D51-4C103CF312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3988" y="1856744"/>
            <a:ext cx="3756134" cy="2301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090000-2BBC-B74B-A9EE-2266C0FD4EE6}"/>
              </a:ext>
            </a:extLst>
          </p:cNvPr>
          <p:cNvSpPr txBox="1"/>
          <p:nvPr/>
        </p:nvSpPr>
        <p:spPr>
          <a:xfrm>
            <a:off x="195305" y="1068302"/>
            <a:ext cx="58585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Cost/Minute = 45.02 ; Cost/SMS = 5.3 ; Cost/MB= 18.2 (data from TRACY Application)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E95BF5A-7342-AA41-8457-76A36C021E58}"/>
              </a:ext>
            </a:extLst>
          </p:cNvPr>
          <p:cNvGraphicFramePr>
            <a:graphicFrameLocks/>
          </p:cNvGraphicFramePr>
          <p:nvPr/>
        </p:nvGraphicFramePr>
        <p:xfrm>
          <a:off x="362776" y="4771857"/>
          <a:ext cx="3465371" cy="1880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E38C78EB-1782-D242-A3A8-26B529512EE7}"/>
              </a:ext>
            </a:extLst>
          </p:cNvPr>
          <p:cNvGraphicFramePr>
            <a:graphicFrameLocks/>
          </p:cNvGraphicFramePr>
          <p:nvPr/>
        </p:nvGraphicFramePr>
        <p:xfrm>
          <a:off x="4363314" y="4771856"/>
          <a:ext cx="3465371" cy="1856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22810F2-C80A-8D43-AE40-3A05830919E4}"/>
              </a:ext>
            </a:extLst>
          </p:cNvPr>
          <p:cNvGraphicFramePr>
            <a:graphicFrameLocks/>
          </p:cNvGraphicFramePr>
          <p:nvPr/>
        </p:nvGraphicFramePr>
        <p:xfrm>
          <a:off x="8339900" y="4771855"/>
          <a:ext cx="3465371" cy="1856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7158872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AAEA58D-B6A5-BC41-9819-4D977F02BC69}"/>
              </a:ext>
            </a:extLst>
          </p:cNvPr>
          <p:cNvSpPr txBox="1"/>
          <p:nvPr/>
        </p:nvSpPr>
        <p:spPr>
          <a:xfrm>
            <a:off x="923157" y="20594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The calculation suggest that it’s the best to </a:t>
            </a:r>
            <a:r>
              <a:rPr lang="en-US" sz="2400" b="1" dirty="0">
                <a:latin typeface="Google Sans" panose="020B0503030502040204" pitchFamily="34" charset="0"/>
              </a:rPr>
              <a:t>have above IDR 75k ARPU</a:t>
            </a:r>
            <a:r>
              <a:rPr lang="en-US" sz="2400" dirty="0">
                <a:latin typeface="Google Sans" panose="020B0503030502040204" pitchFamily="34" charset="0"/>
              </a:rPr>
              <a:t> based on sub-segment</a:t>
            </a:r>
            <a:endParaRPr lang="id-ID" sz="2800" dirty="0">
              <a:latin typeface="Google Sans" panose="020B050303050204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0E2879C-987C-DF47-826A-1EB7D30713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AAA08D6-E4BB-DA47-A556-1F3F09A023EA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AE83A0-D257-9A46-87EC-E40ED67A377A}"/>
              </a:ext>
            </a:extLst>
          </p:cNvPr>
          <p:cNvSpPr/>
          <p:nvPr/>
        </p:nvSpPr>
        <p:spPr>
          <a:xfrm>
            <a:off x="203717" y="1391776"/>
            <a:ext cx="5577167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FB56FC-5B7A-FD45-9575-78FB52953449}"/>
              </a:ext>
            </a:extLst>
          </p:cNvPr>
          <p:cNvSpPr/>
          <p:nvPr/>
        </p:nvSpPr>
        <p:spPr>
          <a:xfrm>
            <a:off x="201334" y="1378471"/>
            <a:ext cx="5577167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BASELINE PACKAGE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090000-2BBC-B74B-A9EE-2266C0FD4EE6}"/>
              </a:ext>
            </a:extLst>
          </p:cNvPr>
          <p:cNvSpPr txBox="1"/>
          <p:nvPr/>
        </p:nvSpPr>
        <p:spPr>
          <a:xfrm>
            <a:off x="6216502" y="6498440"/>
            <a:ext cx="58585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Cost/Minute = 45.02 ; Cost/SMS = 5.3 ; Cost/MB= 18.2 (data from TRACY Application)</a:t>
            </a: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770FDF9E-4B05-9F4F-8148-3AEF3C972BB9}"/>
              </a:ext>
            </a:extLst>
          </p:cNvPr>
          <p:cNvGraphicFramePr>
            <a:graphicFrameLocks/>
          </p:cNvGraphicFramePr>
          <p:nvPr/>
        </p:nvGraphicFramePr>
        <p:xfrm>
          <a:off x="373764" y="1924493"/>
          <a:ext cx="5229594" cy="4727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B533DED-CCDA-1D4D-A308-E1E64EDFE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8548" y="1536754"/>
            <a:ext cx="6126177" cy="24892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5E30C3F-736B-0343-B7A5-77644AD43264}"/>
              </a:ext>
            </a:extLst>
          </p:cNvPr>
          <p:cNvSpPr/>
          <p:nvPr/>
        </p:nvSpPr>
        <p:spPr>
          <a:xfrm>
            <a:off x="1881964" y="2360428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D5FF6DC-8FA7-4341-8A1B-FEF58100B11B}"/>
              </a:ext>
            </a:extLst>
          </p:cNvPr>
          <p:cNvSpPr/>
          <p:nvPr/>
        </p:nvSpPr>
        <p:spPr>
          <a:xfrm>
            <a:off x="1800742" y="2831805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8A991BC-79F5-664D-8ED5-0196452D33A7}"/>
              </a:ext>
            </a:extLst>
          </p:cNvPr>
          <p:cNvSpPr/>
          <p:nvPr/>
        </p:nvSpPr>
        <p:spPr>
          <a:xfrm>
            <a:off x="1662225" y="3589753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DE1099C-2CFF-6148-9813-C43B47718971}"/>
              </a:ext>
            </a:extLst>
          </p:cNvPr>
          <p:cNvSpPr/>
          <p:nvPr/>
        </p:nvSpPr>
        <p:spPr>
          <a:xfrm>
            <a:off x="1800742" y="4068218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EAEB155-E1F2-0E46-BBBA-4EB107A11538}"/>
              </a:ext>
            </a:extLst>
          </p:cNvPr>
          <p:cNvSpPr/>
          <p:nvPr/>
        </p:nvSpPr>
        <p:spPr>
          <a:xfrm>
            <a:off x="1800742" y="4826166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CE0E857-47BE-DD49-8434-6D4E07677415}"/>
              </a:ext>
            </a:extLst>
          </p:cNvPr>
          <p:cNvSpPr/>
          <p:nvPr/>
        </p:nvSpPr>
        <p:spPr>
          <a:xfrm>
            <a:off x="1800742" y="5304631"/>
            <a:ext cx="914400" cy="478465"/>
          </a:xfrm>
          <a:prstGeom prst="ellipse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D6D191-2664-D444-942F-9355384ED522}"/>
              </a:ext>
            </a:extLst>
          </p:cNvPr>
          <p:cNvSpPr txBox="1"/>
          <p:nvPr/>
        </p:nvSpPr>
        <p:spPr>
          <a:xfrm>
            <a:off x="5950931" y="4500363"/>
            <a:ext cx="58585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PROPOSED CAMPAIGN : </a:t>
            </a:r>
          </a:p>
          <a:p>
            <a:endParaRPr lang="en-US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To improve margin we strongly suggest to offer this package to potential customer with &gt; &amp;% K ARPU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Pricing revamp / package need to be followed up to maintain price war in mark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8B6B7A-5E71-F342-902B-F146695CBFA9}"/>
              </a:ext>
            </a:extLst>
          </p:cNvPr>
          <p:cNvSpPr/>
          <p:nvPr/>
        </p:nvSpPr>
        <p:spPr>
          <a:xfrm>
            <a:off x="6738442" y="1924493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185279C-4A3D-974F-8F65-1B46FDD9E6D0}"/>
              </a:ext>
            </a:extLst>
          </p:cNvPr>
          <p:cNvSpPr/>
          <p:nvPr/>
        </p:nvSpPr>
        <p:spPr>
          <a:xfrm>
            <a:off x="6738442" y="2677847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9A04E8-0445-294F-ADF4-D5977BA0D781}"/>
              </a:ext>
            </a:extLst>
          </p:cNvPr>
          <p:cNvSpPr/>
          <p:nvPr/>
        </p:nvSpPr>
        <p:spPr>
          <a:xfrm>
            <a:off x="6738442" y="3394328"/>
            <a:ext cx="5453558" cy="390849"/>
          </a:xfrm>
          <a:prstGeom prst="rect">
            <a:avLst/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C80BE-16FD-594D-9EED-9C959351F2F6}"/>
              </a:ext>
            </a:extLst>
          </p:cNvPr>
          <p:cNvSpPr txBox="1"/>
          <p:nvPr/>
        </p:nvSpPr>
        <p:spPr>
          <a:xfrm>
            <a:off x="12839700" y="4686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3671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Our package offering based on sub-cluster </a:t>
            </a:r>
            <a:r>
              <a:rPr lang="en-US" sz="2400" dirty="0" err="1">
                <a:latin typeface="Google Sans" panose="020B0503030502040204" pitchFamily="34" charset="0"/>
              </a:rPr>
              <a:t>splitted</a:t>
            </a:r>
            <a:r>
              <a:rPr lang="en-US" sz="2400" dirty="0">
                <a:latin typeface="Google Sans" panose="020B0503030502040204" pitchFamily="34" charset="0"/>
              </a:rPr>
              <a:t> into </a:t>
            </a:r>
            <a:r>
              <a:rPr lang="en-US" sz="2400" b="1" dirty="0">
                <a:latin typeface="Google Sans" panose="020B0503030502040204" pitchFamily="34" charset="0"/>
              </a:rPr>
              <a:t>4 different package</a:t>
            </a:r>
            <a:r>
              <a:rPr lang="en-US" sz="2400" dirty="0">
                <a:latin typeface="Google Sans" panose="020B0503030502040204" pitchFamily="34" charset="0"/>
              </a:rPr>
              <a:t> that can bring home </a:t>
            </a:r>
            <a:r>
              <a:rPr lang="en-US" sz="2400" b="1" dirty="0">
                <a:latin typeface="Google Sans" panose="020B0503030502040204" pitchFamily="34" charset="0"/>
              </a:rPr>
              <a:t>uplift of IDR 5320/sub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A774463-A841-4C05-80C0-7C04D11A29DD}"/>
              </a:ext>
            </a:extLst>
          </p:cNvPr>
          <p:cNvSpPr txBox="1"/>
          <p:nvPr/>
        </p:nvSpPr>
        <p:spPr>
          <a:xfrm>
            <a:off x="4209890" y="1253475"/>
            <a:ext cx="225757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Hemat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B0C279E-AFBE-44D1-AC9B-09DA3BDEDFF5}"/>
              </a:ext>
            </a:extLst>
          </p:cNvPr>
          <p:cNvSpPr txBox="1"/>
          <p:nvPr/>
        </p:nvSpPr>
        <p:spPr>
          <a:xfrm>
            <a:off x="6903267" y="1253475"/>
            <a:ext cx="2257574" cy="369332"/>
          </a:xfrm>
          <a:prstGeom prst="rect">
            <a:avLst/>
          </a:prstGeom>
          <a:solidFill>
            <a:srgbClr val="92D1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Gaspol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A881EB4-C43A-4D4A-BB6E-93239E1FC802}"/>
              </a:ext>
            </a:extLst>
          </p:cNvPr>
          <p:cNvSpPr txBox="1"/>
          <p:nvPr/>
        </p:nvSpPr>
        <p:spPr>
          <a:xfrm>
            <a:off x="9401870" y="1253475"/>
            <a:ext cx="2257574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 err="1">
                <a:latin typeface="Google Sans" panose="020B0503030502040204" pitchFamily="34" charset="0"/>
              </a:rPr>
              <a:t>Ojol</a:t>
            </a:r>
            <a:r>
              <a:rPr lang="en-ID" b="1" dirty="0">
                <a:latin typeface="Google Sans" panose="020B0503030502040204" pitchFamily="34" charset="0"/>
              </a:rPr>
              <a:t> </a:t>
            </a:r>
            <a:r>
              <a:rPr lang="en-ID" b="1" dirty="0" err="1">
                <a:latin typeface="Google Sans" panose="020B0503030502040204" pitchFamily="34" charset="0"/>
              </a:rPr>
              <a:t>Juara</a:t>
            </a:r>
            <a:endParaRPr lang="en-US" b="1" dirty="0">
              <a:latin typeface="Google Sans" panose="020B0503030502040204" pitchFamily="34" charset="0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13D48ECA-D1F8-48CA-BBA5-0861D81B49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4" y="1794709"/>
            <a:ext cx="2609650" cy="1979572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84FB73B-DA4D-4587-BDE5-660A589D3A03}"/>
              </a:ext>
            </a:extLst>
          </p:cNvPr>
          <p:cNvSpPr txBox="1"/>
          <p:nvPr/>
        </p:nvSpPr>
        <p:spPr>
          <a:xfrm>
            <a:off x="273872" y="1302396"/>
            <a:ext cx="2257574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Baseline</a:t>
            </a:r>
            <a:endParaRPr lang="en-US" b="1" dirty="0">
              <a:latin typeface="Google Sans" panose="020B050303050204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ED3513F-5F07-4021-A9E4-CD375BFCF427}"/>
              </a:ext>
            </a:extLst>
          </p:cNvPr>
          <p:cNvSpPr txBox="1"/>
          <p:nvPr/>
        </p:nvSpPr>
        <p:spPr>
          <a:xfrm>
            <a:off x="273872" y="976476"/>
            <a:ext cx="2191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Current </a:t>
            </a:r>
            <a:r>
              <a:rPr lang="en-US" sz="1200" dirty="0" err="1">
                <a:latin typeface="Google Sans" panose="020B0503030502040204" pitchFamily="34" charset="0"/>
              </a:rPr>
              <a:t>Telkomsel</a:t>
            </a:r>
            <a:r>
              <a:rPr lang="en-US" sz="1200" dirty="0">
                <a:latin typeface="Google Sans" panose="020B0503030502040204" pitchFamily="34" charset="0"/>
              </a:rPr>
              <a:t> Offeri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E20C3D6-E5A7-49B3-A13D-650D4EA98849}"/>
              </a:ext>
            </a:extLst>
          </p:cNvPr>
          <p:cNvSpPr txBox="1"/>
          <p:nvPr/>
        </p:nvSpPr>
        <p:spPr>
          <a:xfrm>
            <a:off x="172960" y="3804103"/>
            <a:ext cx="2358485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s</a:t>
            </a:r>
            <a:r>
              <a:rPr lang="en-US" sz="1200" dirty="0">
                <a:latin typeface="Google Sans" panose="020B0503030502040204" pitchFamily="34" charset="0"/>
              </a:rPr>
              <a:t> </a:t>
            </a:r>
            <a:r>
              <a:rPr lang="en-ID" sz="1200" b="1" dirty="0">
                <a:latin typeface="Google Sans" panose="020B0503030502040204" pitchFamily="34" charset="0"/>
              </a:rPr>
              <a:t>78,197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5C271D7-A69C-4077-BE2F-66CA52C76279}"/>
              </a:ext>
            </a:extLst>
          </p:cNvPr>
          <p:cNvSpPr txBox="1"/>
          <p:nvPr/>
        </p:nvSpPr>
        <p:spPr>
          <a:xfrm>
            <a:off x="172960" y="4150597"/>
            <a:ext cx="235848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Price  </a:t>
            </a:r>
            <a:r>
              <a:rPr lang="en-ID" sz="1200" b="1" dirty="0">
                <a:latin typeface="Google Sans" panose="020B0503030502040204" pitchFamily="34" charset="0"/>
              </a:rPr>
              <a:t>IDR 75,000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F149ACA-30D4-443C-93BB-E0D1D5D7B831}"/>
              </a:ext>
            </a:extLst>
          </p:cNvPr>
          <p:cNvSpPr txBox="1"/>
          <p:nvPr/>
        </p:nvSpPr>
        <p:spPr>
          <a:xfrm>
            <a:off x="172960" y="4497091"/>
            <a:ext cx="2358484" cy="2769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5,864,775,000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5154E3-189A-4FEF-90C8-AA4D48704AC8}"/>
              </a:ext>
            </a:extLst>
          </p:cNvPr>
          <p:cNvCxnSpPr/>
          <p:nvPr/>
        </p:nvCxnSpPr>
        <p:spPr>
          <a:xfrm>
            <a:off x="195305" y="5267689"/>
            <a:ext cx="11865631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F4561F74-29A3-44BD-B3ED-DDF9ADBE17B0}"/>
              </a:ext>
            </a:extLst>
          </p:cNvPr>
          <p:cNvSpPr/>
          <p:nvPr/>
        </p:nvSpPr>
        <p:spPr>
          <a:xfrm>
            <a:off x="3676309" y="2108285"/>
            <a:ext cx="406232" cy="4062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Google Sans" panose="020B0503030502040204" pitchFamily="34" charset="0"/>
              </a:rPr>
              <a:t>A</a:t>
            </a:r>
            <a:endParaRPr lang="en-ID" dirty="0">
              <a:latin typeface="Google Sans" panose="020B0503030502040204" pitchFamily="34" charset="0"/>
            </a:endParaRP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50E07E2-DB30-483C-80BC-9EAC6BA32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0628090"/>
              </p:ext>
            </p:extLst>
          </p:nvPr>
        </p:nvGraphicFramePr>
        <p:xfrm>
          <a:off x="4209890" y="1749684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80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77" name="Oval 76">
            <a:extLst>
              <a:ext uri="{FF2B5EF4-FFF2-40B4-BE49-F238E27FC236}">
                <a16:creationId xmlns:a16="http://schemas.microsoft.com/office/drawing/2014/main" id="{9D916AE2-EAE4-4AF9-B001-EB98BEF85C9C}"/>
              </a:ext>
            </a:extLst>
          </p:cNvPr>
          <p:cNvSpPr/>
          <p:nvPr/>
        </p:nvSpPr>
        <p:spPr>
          <a:xfrm>
            <a:off x="3676309" y="3849996"/>
            <a:ext cx="406232" cy="4062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Google Sans" panose="020B0503030502040204" pitchFamily="34" charset="0"/>
              </a:rPr>
              <a:t>B</a:t>
            </a:r>
            <a:endParaRPr lang="en-ID" dirty="0">
              <a:latin typeface="Google Sans" panose="020B0503030502040204" pitchFamily="34" charset="0"/>
            </a:endParaRPr>
          </a:p>
        </p:txBody>
      </p:sp>
      <p:graphicFrame>
        <p:nvGraphicFramePr>
          <p:cNvPr id="78" name="Table 11">
            <a:extLst>
              <a:ext uri="{FF2B5EF4-FFF2-40B4-BE49-F238E27FC236}">
                <a16:creationId xmlns:a16="http://schemas.microsoft.com/office/drawing/2014/main" id="{38B30CDC-43DA-45EB-ABC7-900F914A3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052691"/>
              </p:ext>
            </p:extLst>
          </p:nvPr>
        </p:nvGraphicFramePr>
        <p:xfrm>
          <a:off x="4209890" y="3491395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150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5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1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1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81" name="TextBox 80">
            <a:extLst>
              <a:ext uri="{FF2B5EF4-FFF2-40B4-BE49-F238E27FC236}">
                <a16:creationId xmlns:a16="http://schemas.microsoft.com/office/drawing/2014/main" id="{D9EA02BA-99B7-45C3-8633-73D9C2DB289D}"/>
              </a:ext>
            </a:extLst>
          </p:cNvPr>
          <p:cNvSpPr txBox="1"/>
          <p:nvPr/>
        </p:nvSpPr>
        <p:spPr>
          <a:xfrm>
            <a:off x="4844562" y="3167840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3,17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32E564C-686B-490F-8803-7C0ACF9FB8A9}"/>
              </a:ext>
            </a:extLst>
          </p:cNvPr>
          <p:cNvSpPr txBox="1"/>
          <p:nvPr/>
        </p:nvSpPr>
        <p:spPr>
          <a:xfrm>
            <a:off x="4844562" y="4908703"/>
            <a:ext cx="162290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4,00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3E509B2-EDB7-4A35-9F43-EDCE63390D30}"/>
              </a:ext>
            </a:extLst>
          </p:cNvPr>
          <p:cNvSpPr txBox="1"/>
          <p:nvPr/>
        </p:nvSpPr>
        <p:spPr>
          <a:xfrm>
            <a:off x="3676308" y="4908703"/>
            <a:ext cx="1095729" cy="276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26699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A8E4AC3-7D2F-47DF-84C6-58258409676F}"/>
              </a:ext>
            </a:extLst>
          </p:cNvPr>
          <p:cNvSpPr txBox="1"/>
          <p:nvPr/>
        </p:nvSpPr>
        <p:spPr>
          <a:xfrm>
            <a:off x="3700499" y="3166992"/>
            <a:ext cx="1095729" cy="276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39712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graphicFrame>
        <p:nvGraphicFramePr>
          <p:cNvPr id="86" name="Table 11">
            <a:extLst>
              <a:ext uri="{FF2B5EF4-FFF2-40B4-BE49-F238E27FC236}">
                <a16:creationId xmlns:a16="http://schemas.microsoft.com/office/drawing/2014/main" id="{6A1C9339-79D3-4E2B-8060-3A540F18B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70845"/>
              </p:ext>
            </p:extLst>
          </p:nvPr>
        </p:nvGraphicFramePr>
        <p:xfrm>
          <a:off x="6913806" y="1727436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92D1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92D1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175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3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87" name="TextBox 86">
            <a:extLst>
              <a:ext uri="{FF2B5EF4-FFF2-40B4-BE49-F238E27FC236}">
                <a16:creationId xmlns:a16="http://schemas.microsoft.com/office/drawing/2014/main" id="{F43C23BD-CA1A-4156-B589-221A7DBE8E65}"/>
              </a:ext>
            </a:extLst>
          </p:cNvPr>
          <p:cNvSpPr txBox="1"/>
          <p:nvPr/>
        </p:nvSpPr>
        <p:spPr>
          <a:xfrm>
            <a:off x="7220603" y="3513255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1,19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9E9FCE1-36EF-4F70-97C0-1E918B61E7CA}"/>
              </a:ext>
            </a:extLst>
          </p:cNvPr>
          <p:cNvSpPr txBox="1"/>
          <p:nvPr/>
        </p:nvSpPr>
        <p:spPr>
          <a:xfrm>
            <a:off x="7220603" y="3170891"/>
            <a:ext cx="1622902" cy="2769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6825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graphicFrame>
        <p:nvGraphicFramePr>
          <p:cNvPr id="89" name="Table 11">
            <a:extLst>
              <a:ext uri="{FF2B5EF4-FFF2-40B4-BE49-F238E27FC236}">
                <a16:creationId xmlns:a16="http://schemas.microsoft.com/office/drawing/2014/main" id="{4AE66CCE-4664-4239-B145-BAD2668348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467569"/>
              </p:ext>
            </p:extLst>
          </p:nvPr>
        </p:nvGraphicFramePr>
        <p:xfrm>
          <a:off x="9401870" y="1727436"/>
          <a:ext cx="2257574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787">
                  <a:extLst>
                    <a:ext uri="{9D8B030D-6E8A-4147-A177-3AD203B41FA5}">
                      <a16:colId xmlns:a16="http://schemas.microsoft.com/office/drawing/2014/main" val="376787485"/>
                    </a:ext>
                  </a:extLst>
                </a:gridCol>
                <a:gridCol w="1128787">
                  <a:extLst>
                    <a:ext uri="{9D8B030D-6E8A-4147-A177-3AD203B41FA5}">
                      <a16:colId xmlns:a16="http://schemas.microsoft.com/office/drawing/2014/main" val="1849948322"/>
                    </a:ext>
                  </a:extLst>
                </a:gridCol>
              </a:tblGrid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Layana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01523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Harga</a:t>
                      </a:r>
                      <a:endParaRPr lang="en-US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Rp255.000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44386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Kuota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50 GB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01069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SMS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648728"/>
                  </a:ext>
                </a:extLst>
              </a:tr>
              <a:tr h="21014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Telepon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oogle Sans" panose="020B0503030502040204" pitchFamily="34" charset="0"/>
                        </a:rPr>
                        <a:t>200 </a:t>
                      </a:r>
                      <a:r>
                        <a:rPr lang="en-US" sz="1200" dirty="0" err="1">
                          <a:latin typeface="Google Sans" panose="020B0503030502040204" pitchFamily="34" charset="0"/>
                        </a:rPr>
                        <a:t>Menit</a:t>
                      </a:r>
                      <a:endParaRPr lang="en-ID" sz="1200" dirty="0">
                        <a:latin typeface="Google Sans" panose="020B0503030502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370119"/>
                  </a:ext>
                </a:extLst>
              </a:tr>
            </a:tbl>
          </a:graphicData>
        </a:graphic>
      </p:graphicFrame>
      <p:sp>
        <p:nvSpPr>
          <p:cNvPr id="90" name="TextBox 89">
            <a:extLst>
              <a:ext uri="{FF2B5EF4-FFF2-40B4-BE49-F238E27FC236}">
                <a16:creationId xmlns:a16="http://schemas.microsoft.com/office/drawing/2014/main" id="{46AA4233-4668-4F7B-88A5-0FB9D9065CDB}"/>
              </a:ext>
            </a:extLst>
          </p:cNvPr>
          <p:cNvSpPr txBox="1"/>
          <p:nvPr/>
        </p:nvSpPr>
        <p:spPr>
          <a:xfrm>
            <a:off x="9738134" y="3509355"/>
            <a:ext cx="1622902" cy="2778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venue  </a:t>
            </a:r>
            <a:r>
              <a:rPr lang="en-ID" sz="1200" b="1" dirty="0">
                <a:latin typeface="Google Sans" panose="020B0503030502040204" pitchFamily="34" charset="0"/>
              </a:rPr>
              <a:t>IDR 1,44 B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D84EFEE-6976-4C3D-B613-F60080966ED0}"/>
              </a:ext>
            </a:extLst>
          </p:cNvPr>
          <p:cNvSpPr txBox="1"/>
          <p:nvPr/>
        </p:nvSpPr>
        <p:spPr>
          <a:xfrm>
            <a:off x="9738134" y="3166991"/>
            <a:ext cx="1622902" cy="2769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ker  </a:t>
            </a:r>
            <a:r>
              <a:rPr lang="en-ID" sz="1200" b="1" dirty="0">
                <a:latin typeface="Google Sans" panose="020B0503030502040204" pitchFamily="34" charset="0"/>
              </a:rPr>
              <a:t>5681</a:t>
            </a:r>
            <a:endParaRPr lang="en-US" sz="1100" dirty="0">
              <a:latin typeface="Google Sans" panose="020B050303050204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FAF488C5-9E51-4256-8907-3142F2BD74AC}"/>
              </a:ext>
            </a:extLst>
          </p:cNvPr>
          <p:cNvSpPr txBox="1"/>
          <p:nvPr/>
        </p:nvSpPr>
        <p:spPr>
          <a:xfrm>
            <a:off x="7213868" y="5416151"/>
            <a:ext cx="3546402" cy="707886"/>
          </a:xfrm>
          <a:prstGeom prst="rect">
            <a:avLst/>
          </a:prstGeom>
          <a:solidFill>
            <a:srgbClr val="C5E0B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dirty="0">
                <a:latin typeface="Google Sans" panose="020B0503030502040204" pitchFamily="34" charset="0"/>
              </a:rPr>
              <a:t>Total Revenue  </a:t>
            </a:r>
          </a:p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IDR 9,824,840,000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32CD893-9493-49D2-867C-6DF1AF17804B}"/>
              </a:ext>
            </a:extLst>
          </p:cNvPr>
          <p:cNvSpPr txBox="1"/>
          <p:nvPr/>
        </p:nvSpPr>
        <p:spPr>
          <a:xfrm>
            <a:off x="10920139" y="5416151"/>
            <a:ext cx="1049339" cy="707886"/>
          </a:xfrm>
          <a:prstGeom prst="rect">
            <a:avLst/>
          </a:prstGeom>
          <a:solidFill>
            <a:srgbClr val="00B05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+</a:t>
            </a:r>
            <a:r>
              <a:rPr lang="en-ID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67%</a:t>
            </a:r>
            <a:endParaRPr lang="en-US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986C116-3BBF-49B4-BA10-ADA0A9C208B3}"/>
              </a:ext>
            </a:extLst>
          </p:cNvPr>
          <p:cNvSpPr txBox="1"/>
          <p:nvPr/>
        </p:nvSpPr>
        <p:spPr>
          <a:xfrm>
            <a:off x="7213868" y="6227794"/>
            <a:ext cx="4755610" cy="400110"/>
          </a:xfrm>
          <a:prstGeom prst="rect">
            <a:avLst/>
          </a:prstGeom>
          <a:solidFill>
            <a:srgbClr val="C5E0B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2000" dirty="0">
                <a:latin typeface="Google Sans" panose="020B0503030502040204" pitchFamily="34" charset="0"/>
              </a:rPr>
              <a:t>Uplift/Subs </a:t>
            </a:r>
            <a:r>
              <a:rPr lang="en-ID" sz="2000" b="1" dirty="0">
                <a:latin typeface="Google Sans" panose="020B0503030502040204" pitchFamily="34" charset="0"/>
              </a:rPr>
              <a:t>IDR 4937</a:t>
            </a:r>
            <a:endParaRPr lang="en-US" dirty="0">
              <a:latin typeface="Google Sans" panose="020B050303050204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AB41AE-56AF-4733-80CB-12C4EC03A3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049" y="5425565"/>
            <a:ext cx="6441253" cy="1300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5676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BD713B-045F-40B5-A7AB-F35E3CEF0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0C18491-8E66-4911-B1EA-B5963CCFD0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8300" y="814387"/>
            <a:ext cx="8286750" cy="3743325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8B0E792-A61D-48BA-9269-0F9715FB1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655203"/>
              </p:ext>
            </p:extLst>
          </p:nvPr>
        </p:nvGraphicFramePr>
        <p:xfrm>
          <a:off x="838199" y="4630218"/>
          <a:ext cx="10515601" cy="2037802"/>
        </p:xfrm>
        <a:graphic>
          <a:graphicData uri="http://schemas.openxmlformats.org/drawingml/2006/table">
            <a:tbl>
              <a:tblPr/>
              <a:tblGrid>
                <a:gridCol w="631371">
                  <a:extLst>
                    <a:ext uri="{9D8B030D-6E8A-4147-A177-3AD203B41FA5}">
                      <a16:colId xmlns:a16="http://schemas.microsoft.com/office/drawing/2014/main" val="2324431085"/>
                    </a:ext>
                  </a:extLst>
                </a:gridCol>
                <a:gridCol w="892629">
                  <a:extLst>
                    <a:ext uri="{9D8B030D-6E8A-4147-A177-3AD203B41FA5}">
                      <a16:colId xmlns:a16="http://schemas.microsoft.com/office/drawing/2014/main" val="4198026125"/>
                    </a:ext>
                  </a:extLst>
                </a:gridCol>
                <a:gridCol w="957943">
                  <a:extLst>
                    <a:ext uri="{9D8B030D-6E8A-4147-A177-3AD203B41FA5}">
                      <a16:colId xmlns:a16="http://schemas.microsoft.com/office/drawing/2014/main" val="2824136683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2371736663"/>
                    </a:ext>
                  </a:extLst>
                </a:gridCol>
                <a:gridCol w="1121229">
                  <a:extLst>
                    <a:ext uri="{9D8B030D-6E8A-4147-A177-3AD203B41FA5}">
                      <a16:colId xmlns:a16="http://schemas.microsoft.com/office/drawing/2014/main" val="1988996081"/>
                    </a:ext>
                  </a:extLst>
                </a:gridCol>
                <a:gridCol w="631371">
                  <a:extLst>
                    <a:ext uri="{9D8B030D-6E8A-4147-A177-3AD203B41FA5}">
                      <a16:colId xmlns:a16="http://schemas.microsoft.com/office/drawing/2014/main" val="1977320786"/>
                    </a:ext>
                  </a:extLst>
                </a:gridCol>
                <a:gridCol w="718457">
                  <a:extLst>
                    <a:ext uri="{9D8B030D-6E8A-4147-A177-3AD203B41FA5}">
                      <a16:colId xmlns:a16="http://schemas.microsoft.com/office/drawing/2014/main" val="4037321579"/>
                    </a:ext>
                  </a:extLst>
                </a:gridCol>
                <a:gridCol w="1186543">
                  <a:extLst>
                    <a:ext uri="{9D8B030D-6E8A-4147-A177-3AD203B41FA5}">
                      <a16:colId xmlns:a16="http://schemas.microsoft.com/office/drawing/2014/main" val="1450087415"/>
                    </a:ext>
                  </a:extLst>
                </a:gridCol>
                <a:gridCol w="1197429">
                  <a:extLst>
                    <a:ext uri="{9D8B030D-6E8A-4147-A177-3AD203B41FA5}">
                      <a16:colId xmlns:a16="http://schemas.microsoft.com/office/drawing/2014/main" val="1722029118"/>
                    </a:ext>
                  </a:extLst>
                </a:gridCol>
                <a:gridCol w="772886">
                  <a:extLst>
                    <a:ext uri="{9D8B030D-6E8A-4147-A177-3AD203B41FA5}">
                      <a16:colId xmlns:a16="http://schemas.microsoft.com/office/drawing/2014/main" val="2444021521"/>
                    </a:ext>
                  </a:extLst>
                </a:gridCol>
                <a:gridCol w="1480457">
                  <a:extLst>
                    <a:ext uri="{9D8B030D-6E8A-4147-A177-3AD203B41FA5}">
                      <a16:colId xmlns:a16="http://schemas.microsoft.com/office/drawing/2014/main" val="2228991702"/>
                    </a:ext>
                  </a:extLst>
                </a:gridCol>
              </a:tblGrid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et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Usage (Byte)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S Trx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ce Minute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638305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A &amp;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76,853.7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71,115.3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2,183,935.62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2.1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45.5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39,712.0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201747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04603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C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Gaspol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168,296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152,39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14,670,167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3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6,825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8620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488221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D, E, F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141,800.13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30,011.77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24,931,172.5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53.45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65.2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26,69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592170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550408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 G, H, I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Juar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252,491.96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35,912.93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47,044,447.69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7.08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60.04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5,681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4406821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400405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78,917.00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096619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54542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D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31" marR="6531" marT="65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4463064"/>
                  </a:ext>
                </a:extLst>
              </a:tr>
              <a:tr h="15675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kage Pricing</a:t>
                      </a:r>
                    </a:p>
                  </a:txBody>
                  <a:tcPr marL="6531" marR="6531" marT="653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ket 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Usage (GB)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S Trx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ce Minute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 Revenue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lift/Subs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818357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1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696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942526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6.215905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268582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Gaspol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5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437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548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4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1281417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Hemat 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9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485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928296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9.86875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2576922"/>
                  </a:ext>
                </a:extLst>
              </a:tr>
              <a:tr h="15675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jol Juara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GB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1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8655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48179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8.04066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292071"/>
                  </a:ext>
                </a:extLst>
              </a:tr>
              <a:tr h="156754"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17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24840000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625622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D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7.157038</a:t>
                      </a:r>
                    </a:p>
                  </a:txBody>
                  <a:tcPr marL="6531" marR="6531" marT="653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055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5690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USINESS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683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4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E4F3343-6161-4320-BB96-866571A902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100" y="228600"/>
            <a:ext cx="11353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80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0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62055" y="159044"/>
            <a:ext cx="11014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ide-Hailing is </a:t>
            </a:r>
            <a:r>
              <a:rPr lang="en-ID" sz="2400" b="1" dirty="0">
                <a:latin typeface="Google Sans" panose="020B0503030502040204" pitchFamily="34" charset="0"/>
              </a:rPr>
              <a:t>multi billion business </a:t>
            </a:r>
            <a:r>
              <a:rPr lang="en-ID" sz="2400" dirty="0">
                <a:latin typeface="Google Sans" panose="020B0503030502040204" pitchFamily="34" charset="0"/>
              </a:rPr>
              <a:t>in Indonesia, and the driver stand as partner which plays crucial role, represent </a:t>
            </a:r>
            <a:r>
              <a:rPr lang="en-ID" sz="2400" b="1" dirty="0">
                <a:latin typeface="Google Sans" panose="020B0503030502040204" pitchFamily="34" charset="0"/>
              </a:rPr>
              <a:t>0.9% of </a:t>
            </a:r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Popula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268F6D-82D1-4A04-AACF-2358472B0C4D}"/>
              </a:ext>
            </a:extLst>
          </p:cNvPr>
          <p:cNvSpPr txBox="1"/>
          <p:nvPr/>
        </p:nvSpPr>
        <p:spPr>
          <a:xfrm>
            <a:off x="320123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.48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B7D279-9218-433C-B2A5-D5898D4986EC}"/>
              </a:ext>
            </a:extLst>
          </p:cNvPr>
          <p:cNvSpPr txBox="1"/>
          <p:nvPr/>
        </p:nvSpPr>
        <p:spPr>
          <a:xfrm>
            <a:off x="-18434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Driv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3CEFC-3958-4DB6-B301-4244FD256AB4}"/>
              </a:ext>
            </a:extLst>
          </p:cNvPr>
          <p:cNvSpPr txBox="1"/>
          <p:nvPr/>
        </p:nvSpPr>
        <p:spPr>
          <a:xfrm>
            <a:off x="0" y="6355559"/>
            <a:ext cx="305809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oogle Sans" panose="020B0503030502040204" pitchFamily="34" charset="0"/>
              </a:rPr>
              <a:t>*</a:t>
            </a:r>
            <a:r>
              <a:rPr lang="en-US" sz="1100" dirty="0" err="1">
                <a:latin typeface="Google Sans" panose="020B0503030502040204" pitchFamily="34" charset="0"/>
              </a:rPr>
              <a:t>Telkomsel</a:t>
            </a:r>
            <a:r>
              <a:rPr lang="en-US" sz="1100" dirty="0">
                <a:latin typeface="Google Sans" panose="020B0503030502040204" pitchFamily="34" charset="0"/>
              </a:rPr>
              <a:t> MSIGHT January 2020 Data</a:t>
            </a:r>
          </a:p>
          <a:p>
            <a:r>
              <a:rPr lang="en-US" sz="1200" dirty="0">
                <a:latin typeface="Google Sans" panose="020B0503030502040204" pitchFamily="34" charset="0"/>
              </a:rPr>
              <a:t>** Lembaga </a:t>
            </a:r>
            <a:r>
              <a:rPr lang="en-US" sz="1200" dirty="0" err="1">
                <a:latin typeface="Google Sans" panose="020B0503030502040204" pitchFamily="34" charset="0"/>
              </a:rPr>
              <a:t>Demografi</a:t>
            </a:r>
            <a:r>
              <a:rPr lang="en-US" sz="1200" dirty="0">
                <a:latin typeface="Google Sans" panose="020B0503030502040204" pitchFamily="34" charset="0"/>
              </a:rPr>
              <a:t> FEB UI (2018)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C323D57C-4D9D-46E3-B788-7E78DC352B80}"/>
              </a:ext>
            </a:extLst>
          </p:cNvPr>
          <p:cNvSpPr/>
          <p:nvPr/>
        </p:nvSpPr>
        <p:spPr>
          <a:xfrm rot="6678238">
            <a:off x="99926" y="1811474"/>
            <a:ext cx="4084320" cy="4084320"/>
          </a:xfrm>
          <a:prstGeom prst="blockArc">
            <a:avLst>
              <a:gd name="adj1" fmla="val 10800000"/>
              <a:gd name="adj2" fmla="val 18891155"/>
              <a:gd name="adj3" fmla="val 397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58FA83-ADF6-47A4-A1B4-9095EAA38E22}"/>
              </a:ext>
            </a:extLst>
          </p:cNvPr>
          <p:cNvSpPr txBox="1"/>
          <p:nvPr/>
        </p:nvSpPr>
        <p:spPr>
          <a:xfrm>
            <a:off x="3286432" y="2952618"/>
            <a:ext cx="1318081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Serving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9485B1-987C-4C31-A6A3-238325D1C243}"/>
              </a:ext>
            </a:extLst>
          </p:cNvPr>
          <p:cNvSpPr txBox="1"/>
          <p:nvPr/>
        </p:nvSpPr>
        <p:spPr>
          <a:xfrm>
            <a:off x="4316044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6.86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DBD9C0-EE6F-4581-A002-E8365338172D}"/>
              </a:ext>
            </a:extLst>
          </p:cNvPr>
          <p:cNvSpPr txBox="1"/>
          <p:nvPr/>
        </p:nvSpPr>
        <p:spPr>
          <a:xfrm>
            <a:off x="4380075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Us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93D52-CFA3-4150-B061-F68EC4E504F1}"/>
              </a:ext>
            </a:extLst>
          </p:cNvPr>
          <p:cNvSpPr txBox="1"/>
          <p:nvPr/>
        </p:nvSpPr>
        <p:spPr>
          <a:xfrm>
            <a:off x="3286431" y="3319557"/>
            <a:ext cx="1318082" cy="11387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Driver to Consumer Ratio</a:t>
            </a:r>
          </a:p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:11</a:t>
            </a:r>
            <a:endParaRPr lang="id-ID" sz="2400" b="1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6CF74D-E97C-4861-BD03-C0BAAAE94C47}"/>
              </a:ext>
            </a:extLst>
          </p:cNvPr>
          <p:cNvSpPr txBox="1"/>
          <p:nvPr/>
        </p:nvSpPr>
        <p:spPr>
          <a:xfrm>
            <a:off x="8329412" y="1394868"/>
            <a:ext cx="3304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Gojek</a:t>
            </a:r>
            <a:r>
              <a:rPr lang="en-ID" dirty="0">
                <a:latin typeface="Google Sans" panose="020B0503030502040204" pitchFamily="34" charset="0"/>
              </a:rPr>
              <a:t> drivers as a partner contribute to </a:t>
            </a:r>
            <a:r>
              <a:rPr lang="en-ID" b="1" dirty="0">
                <a:latin typeface="Google Sans" panose="020B0503030502040204" pitchFamily="34" charset="0"/>
              </a:rPr>
              <a:t>IDR 8 Trillion annually (2018)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D77401-E979-4427-B0DE-3CB84D088314}"/>
              </a:ext>
            </a:extLst>
          </p:cNvPr>
          <p:cNvSpPr txBox="1"/>
          <p:nvPr/>
        </p:nvSpPr>
        <p:spPr>
          <a:xfrm>
            <a:off x="8329412" y="2413108"/>
            <a:ext cx="33048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b="1" dirty="0">
                <a:latin typeface="Google Sans" panose="020B0503030502040204" pitchFamily="34" charset="0"/>
              </a:rPr>
              <a:t>34% of them have monthly income of &gt; IDR 3.5 million </a:t>
            </a:r>
            <a:r>
              <a:rPr lang="en-ID" dirty="0">
                <a:latin typeface="Google Sans" panose="020B0503030502040204" pitchFamily="34" charset="0"/>
              </a:rPr>
              <a:t>after joined as ride hailing driver, only 8% of them already have it before join as a partner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FE2F8B-872F-4477-B729-EC5BAC60A3BB}"/>
              </a:ext>
            </a:extLst>
          </p:cNvPr>
          <p:cNvSpPr/>
          <p:nvPr/>
        </p:nvSpPr>
        <p:spPr>
          <a:xfrm>
            <a:off x="7894731" y="1394868"/>
            <a:ext cx="95390" cy="4809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9" name="ChevronBlue 24">
            <a:extLst>
              <a:ext uri="{FF2B5EF4-FFF2-40B4-BE49-F238E27FC236}">
                <a16:creationId xmlns:a16="http://schemas.microsoft.com/office/drawing/2014/main" id="{40375D29-CDCE-4CE1-ACBB-784883C0D86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651528" y="3635310"/>
            <a:ext cx="532123" cy="532123"/>
            <a:chOff x="1019016" y="1018033"/>
            <a:chExt cx="396228" cy="39622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E1190E7-A2BC-44C4-A2F2-F24278C88338}"/>
                </a:ext>
              </a:extLst>
            </p:cNvPr>
            <p:cNvSpPr/>
            <p:nvPr/>
          </p:nvSpPr>
          <p:spPr>
            <a:xfrm>
              <a:off x="1019016" y="1018033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5C3A44-C333-4129-9F75-285DF6BB8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88D2905-F844-4AA2-928D-ECEB71742004}"/>
              </a:ext>
            </a:extLst>
          </p:cNvPr>
          <p:cNvSpPr txBox="1"/>
          <p:nvPr/>
        </p:nvSpPr>
        <p:spPr>
          <a:xfrm>
            <a:off x="8329410" y="4726596"/>
            <a:ext cx="3304864" cy="14773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ily income of IDR 150-200k/day</a:t>
            </a:r>
            <a:r>
              <a:rPr lang="en-US" dirty="0">
                <a:latin typeface="Google Sans" panose="020B0503030502040204" pitchFamily="34" charset="0"/>
              </a:rPr>
              <a:t>, </a:t>
            </a:r>
            <a:r>
              <a:rPr lang="en-US" b="1" dirty="0">
                <a:latin typeface="Google Sans" panose="020B0503030502040204" pitchFamily="34" charset="0"/>
              </a:rPr>
              <a:t>communication expense can be a burden</a:t>
            </a:r>
            <a:r>
              <a:rPr lang="en-US" dirty="0">
                <a:latin typeface="Google Sans" panose="020B0503030502040204" pitchFamily="34" charset="0"/>
              </a:rPr>
              <a:t> if </a:t>
            </a:r>
            <a:r>
              <a:rPr lang="en-US" b="1" dirty="0">
                <a:latin typeface="Google Sans" panose="020B0503030502040204" pitchFamily="34" charset="0"/>
              </a:rPr>
              <a:t>Telco</a:t>
            </a:r>
            <a:r>
              <a:rPr lang="en-US" dirty="0">
                <a:latin typeface="Google Sans" panose="020B0503030502040204" pitchFamily="34" charset="0"/>
              </a:rPr>
              <a:t> company don’t provide the </a:t>
            </a:r>
            <a:r>
              <a:rPr lang="en-US" b="1" dirty="0">
                <a:latin typeface="Google Sans" panose="020B0503030502040204" pitchFamily="34" charset="0"/>
              </a:rPr>
              <a:t>best off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grpSp>
        <p:nvGrpSpPr>
          <p:cNvPr id="23" name="ChevronBlue 24">
            <a:extLst>
              <a:ext uri="{FF2B5EF4-FFF2-40B4-BE49-F238E27FC236}">
                <a16:creationId xmlns:a16="http://schemas.microsoft.com/office/drawing/2014/main" id="{BE23A4E4-1AD1-49CB-BA19-7103116267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 rot="5400000">
            <a:off x="9715782" y="4128388"/>
            <a:ext cx="532123" cy="532123"/>
            <a:chOff x="1019016" y="1018034"/>
            <a:chExt cx="396228" cy="39622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5124BF1-88EC-47CE-AC69-9F963786B16A}"/>
                </a:ext>
              </a:extLst>
            </p:cNvPr>
            <p:cNvSpPr/>
            <p:nvPr/>
          </p:nvSpPr>
          <p:spPr>
            <a:xfrm>
              <a:off x="1019016" y="1018034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40A2D8F-0005-491D-86D2-D5A00301B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F5E50F3C-7FD3-42EB-81C2-C4742F9A2331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8FD63C-7457-4479-9470-D1E4B521DB61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55203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770929" y="172728"/>
            <a:ext cx="10968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as connectivity provider</a:t>
            </a:r>
            <a:r>
              <a:rPr lang="en-ID" sz="2400" dirty="0">
                <a:latin typeface="Google Sans" panose="020B0503030502040204" pitchFamily="34" charset="0"/>
              </a:rPr>
              <a:t> stand as </a:t>
            </a:r>
            <a:r>
              <a:rPr lang="en-ID" sz="2400" b="1" dirty="0">
                <a:latin typeface="Google Sans" panose="020B0503030502040204" pitchFamily="34" charset="0"/>
              </a:rPr>
              <a:t>enabler</a:t>
            </a:r>
            <a:r>
              <a:rPr lang="en-ID" sz="2400" dirty="0">
                <a:latin typeface="Google Sans" panose="020B0503030502040204" pitchFamily="34" charset="0"/>
              </a:rPr>
              <a:t> to make the </a:t>
            </a:r>
            <a:r>
              <a:rPr lang="en-ID" sz="2400" b="1" dirty="0">
                <a:latin typeface="Google Sans" panose="020B0503030502040204" pitchFamily="34" charset="0"/>
              </a:rPr>
              <a:t>driver experience with ride-hailing app </a:t>
            </a:r>
            <a:r>
              <a:rPr lang="en-ID" sz="2400" dirty="0">
                <a:latin typeface="Google Sans" panose="020B0503030502040204" pitchFamily="34" charset="0"/>
              </a:rPr>
              <a:t>more </a:t>
            </a:r>
            <a:r>
              <a:rPr lang="en-ID" sz="2400" b="1" dirty="0">
                <a:latin typeface="Google Sans" panose="020B0503030502040204" pitchFamily="34" charset="0"/>
              </a:rPr>
              <a:t>seamless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4B8BB4-B4C3-460B-A1B9-6BDD63939572}"/>
              </a:ext>
            </a:extLst>
          </p:cNvPr>
          <p:cNvSpPr txBox="1"/>
          <p:nvPr/>
        </p:nvSpPr>
        <p:spPr>
          <a:xfrm>
            <a:off x="4629507" y="1150230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Telkomse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A9A89C-7D4D-4BE6-8AC4-0A6A702626E6}"/>
              </a:ext>
            </a:extLst>
          </p:cNvPr>
          <p:cNvSpPr txBox="1"/>
          <p:nvPr/>
        </p:nvSpPr>
        <p:spPr>
          <a:xfrm>
            <a:off x="456357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X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E607D7-4DA6-4E08-91DA-C616DBA654AD}"/>
              </a:ext>
            </a:extLst>
          </p:cNvPr>
          <p:cNvSpPr txBox="1"/>
          <p:nvPr/>
        </p:nvSpPr>
        <p:spPr>
          <a:xfrm>
            <a:off x="8518878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Indosat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B9A17B-D96F-4CA0-9654-40E7F813731C}"/>
              </a:ext>
            </a:extLst>
          </p:cNvPr>
          <p:cNvSpPr txBox="1"/>
          <p:nvPr/>
        </p:nvSpPr>
        <p:spPr>
          <a:xfrm>
            <a:off x="276943" y="5876076"/>
            <a:ext cx="114403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Telkomsel</a:t>
            </a:r>
            <a:r>
              <a:rPr lang="en-ID" dirty="0">
                <a:latin typeface="Google Sans" panose="020B0503030502040204" pitchFamily="34" charset="0"/>
              </a:rPr>
              <a:t> has several competitor with </a:t>
            </a:r>
            <a:r>
              <a:rPr lang="en-ID" b="1" dirty="0">
                <a:latin typeface="Google Sans" panose="020B0503030502040204" pitchFamily="34" charset="0"/>
              </a:rPr>
              <a:t>more competitive price for ride-hailing driver package.</a:t>
            </a:r>
            <a:r>
              <a:rPr lang="en-ID" dirty="0">
                <a:latin typeface="Google Sans" panose="020B0503030502040204" pitchFamily="34" charset="0"/>
              </a:rPr>
              <a:t> We need to </a:t>
            </a:r>
            <a:r>
              <a:rPr lang="en-ID" b="1" dirty="0">
                <a:latin typeface="Google Sans" panose="020B0503030502040204" pitchFamily="34" charset="0"/>
              </a:rPr>
              <a:t>enhance value proposition</a:t>
            </a:r>
            <a:r>
              <a:rPr lang="en-ID" dirty="0">
                <a:latin typeface="Google Sans" panose="020B0503030502040204" pitchFamily="34" charset="0"/>
              </a:rPr>
              <a:t> to improve the takers of package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D8C29C-A304-40E2-9C9D-F99D6390BA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7358" y="1580298"/>
            <a:ext cx="3276384" cy="26237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173EC0-8834-4207-912E-A1AF7723B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065" y="1597005"/>
            <a:ext cx="3756134" cy="23016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EC8377-9540-44BE-A9B1-0791BE1AF4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1488" y="1531570"/>
            <a:ext cx="4260902" cy="32321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EDE5054-02F6-4085-8050-3F5DFB120A8E}"/>
              </a:ext>
            </a:extLst>
          </p:cNvPr>
          <p:cNvSpPr txBox="1"/>
          <p:nvPr/>
        </p:nvSpPr>
        <p:spPr>
          <a:xfrm>
            <a:off x="694033" y="3929364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FF9301-CBB9-46CB-82D1-F0E8374856BC}"/>
              </a:ext>
            </a:extLst>
          </p:cNvPr>
          <p:cNvSpPr txBox="1"/>
          <p:nvPr/>
        </p:nvSpPr>
        <p:spPr>
          <a:xfrm>
            <a:off x="2253340" y="3929364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375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B5852F-AA6B-4759-B323-464A2EB3BE9B}"/>
              </a:ext>
            </a:extLst>
          </p:cNvPr>
          <p:cNvSpPr txBox="1"/>
          <p:nvPr/>
        </p:nvSpPr>
        <p:spPr>
          <a:xfrm>
            <a:off x="4732387" y="4812816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262190-83EC-4D69-87B6-10D576BB901D}"/>
              </a:ext>
            </a:extLst>
          </p:cNvPr>
          <p:cNvSpPr txBox="1"/>
          <p:nvPr/>
        </p:nvSpPr>
        <p:spPr>
          <a:xfrm>
            <a:off x="6291694" y="4812816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81828-6B2C-4628-A387-776A844371D4}"/>
              </a:ext>
            </a:extLst>
          </p:cNvPr>
          <p:cNvSpPr txBox="1"/>
          <p:nvPr/>
        </p:nvSpPr>
        <p:spPr>
          <a:xfrm>
            <a:off x="8689848" y="4204069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7794C6-CDBE-408B-BFA9-FB622008CFD1}"/>
              </a:ext>
            </a:extLst>
          </p:cNvPr>
          <p:cNvSpPr txBox="1"/>
          <p:nvPr/>
        </p:nvSpPr>
        <p:spPr>
          <a:xfrm>
            <a:off x="10249155" y="4204069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742CE4C-C121-4FC0-80DB-458EFDA4AEFD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D870BC-E9AB-4CB5-8D59-7D7A2DD4D6C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81026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2A21974C-241C-4618-9ECD-F89BC13683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395" y="2806101"/>
            <a:ext cx="801574" cy="44888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1378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</a:t>
            </a:r>
            <a:r>
              <a:rPr lang="en-ID" sz="2400" b="1" dirty="0">
                <a:latin typeface="Google Sans" panose="020B0503030502040204" pitchFamily="34" charset="0"/>
              </a:rPr>
              <a:t>driver needs and usage of connectivity</a:t>
            </a:r>
            <a:r>
              <a:rPr lang="en-ID" sz="2400" dirty="0">
                <a:latin typeface="Google Sans" panose="020B0503030502040204" pitchFamily="34" charset="0"/>
              </a:rPr>
              <a:t> with </a:t>
            </a:r>
            <a:r>
              <a:rPr lang="en-ID" sz="2400" b="1" dirty="0">
                <a:latin typeface="Google Sans" panose="020B0503030502040204" pitchFamily="34" charset="0"/>
              </a:rPr>
              <a:t>data science </a:t>
            </a:r>
            <a:r>
              <a:rPr lang="en-ID" sz="2400" dirty="0">
                <a:latin typeface="Google Sans" panose="020B0503030502040204" pitchFamily="34" charset="0"/>
              </a:rPr>
              <a:t>can be the key to drive </a:t>
            </a:r>
            <a:r>
              <a:rPr lang="en-ID" sz="2400" b="1" dirty="0">
                <a:latin typeface="Google Sans" panose="020B0503030502040204" pitchFamily="34" charset="0"/>
              </a:rPr>
              <a:t>more takers in Ride-Hailing packag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1D410F-4E8A-4244-B79E-E06734BED802}"/>
              </a:ext>
            </a:extLst>
          </p:cNvPr>
          <p:cNvSpPr txBox="1"/>
          <p:nvPr/>
        </p:nvSpPr>
        <p:spPr>
          <a:xfrm>
            <a:off x="9231784" y="3100576"/>
            <a:ext cx="213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oost Economic Growth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45707E-4B76-4591-8F5F-BB9C4E65971D}"/>
              </a:ext>
            </a:extLst>
          </p:cNvPr>
          <p:cNvSpPr/>
          <p:nvPr/>
        </p:nvSpPr>
        <p:spPr>
          <a:xfrm>
            <a:off x="685801" y="4671646"/>
            <a:ext cx="10866120" cy="16615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3AEB64A-F9C1-4C36-A6C8-EF9B04EFFC6F}"/>
              </a:ext>
            </a:extLst>
          </p:cNvPr>
          <p:cNvSpPr/>
          <p:nvPr/>
        </p:nvSpPr>
        <p:spPr>
          <a:xfrm>
            <a:off x="811397" y="50793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8B98F13-389E-4611-B234-D95B9E64C8B4}"/>
              </a:ext>
            </a:extLst>
          </p:cNvPr>
          <p:cNvSpPr/>
          <p:nvPr/>
        </p:nvSpPr>
        <p:spPr>
          <a:xfrm>
            <a:off x="3261268" y="229341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C4DDD7-E0D1-4EF4-969B-0A815D2A2F06}"/>
              </a:ext>
            </a:extLst>
          </p:cNvPr>
          <p:cNvSpPr txBox="1"/>
          <p:nvPr/>
        </p:nvSpPr>
        <p:spPr>
          <a:xfrm>
            <a:off x="2822956" y="2890669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Conne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48D81C1C-2F46-43D0-AF4C-66A3080723A8}"/>
              </a:ext>
            </a:extLst>
          </p:cNvPr>
          <p:cNvSpPr/>
          <p:nvPr/>
        </p:nvSpPr>
        <p:spPr>
          <a:xfrm>
            <a:off x="7283289" y="231067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6A8EEE-D40D-4CAC-B8F3-2ADEE0214CE0}"/>
              </a:ext>
            </a:extLst>
          </p:cNvPr>
          <p:cNvSpPr txBox="1"/>
          <p:nvPr/>
        </p:nvSpPr>
        <p:spPr>
          <a:xfrm>
            <a:off x="6844977" y="2951722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odu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285273-EC6F-46E5-BC24-67E871AA655C}"/>
              </a:ext>
            </a:extLst>
          </p:cNvPr>
          <p:cNvSpPr txBox="1"/>
          <p:nvPr/>
        </p:nvSpPr>
        <p:spPr>
          <a:xfrm>
            <a:off x="9249177" y="175797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alanced transport supply-demand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A8C405-CFFF-44FB-8F9B-4756AACE878D}"/>
              </a:ext>
            </a:extLst>
          </p:cNvPr>
          <p:cNvSpPr txBox="1"/>
          <p:nvPr/>
        </p:nvSpPr>
        <p:spPr>
          <a:xfrm>
            <a:off x="9231784" y="2485748"/>
            <a:ext cx="232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Service Excellence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BCA0BB-C9F6-4CBB-9807-8695DCAA7F72}"/>
              </a:ext>
            </a:extLst>
          </p:cNvPr>
          <p:cNvSpPr txBox="1"/>
          <p:nvPr/>
        </p:nvSpPr>
        <p:spPr>
          <a:xfrm>
            <a:off x="4825732" y="228031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ORE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8AE52C6-3FA5-401D-8E23-082BBE25AC32}"/>
              </a:ext>
            </a:extLst>
          </p:cNvPr>
          <p:cNvSpPr txBox="1"/>
          <p:nvPr/>
        </p:nvSpPr>
        <p:spPr>
          <a:xfrm>
            <a:off x="4752968" y="334496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SUPPORTING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7D37B-6BC3-4A0F-A3DA-28AFDCC007F5}"/>
              </a:ext>
            </a:extLst>
          </p:cNvPr>
          <p:cNvSpPr txBox="1"/>
          <p:nvPr/>
        </p:nvSpPr>
        <p:spPr>
          <a:xfrm>
            <a:off x="1156511" y="1889301"/>
            <a:ext cx="1673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Internet Data Acces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256CC2-AECC-40E5-AE1F-ED21F2226471}"/>
              </a:ext>
            </a:extLst>
          </p:cNvPr>
          <p:cNvSpPr txBox="1"/>
          <p:nvPr/>
        </p:nvSpPr>
        <p:spPr>
          <a:xfrm>
            <a:off x="1037131" y="2723275"/>
            <a:ext cx="19126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Legacy Communication (SMS &amp; Voice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A696295-66C5-4363-A845-A702ADEB77E0}"/>
              </a:ext>
            </a:extLst>
          </p:cNvPr>
          <p:cNvSpPr txBox="1"/>
          <p:nvPr/>
        </p:nvSpPr>
        <p:spPr>
          <a:xfrm>
            <a:off x="3730869" y="6353678"/>
            <a:ext cx="477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C00000"/>
                </a:solidFill>
                <a:latin typeface="Google Sans" panose="020B0503030502040204" pitchFamily="34" charset="0"/>
              </a:rPr>
              <a:t>Telkomsel’s</a:t>
            </a:r>
            <a:r>
              <a:rPr lang="en-US" sz="2000" b="1" dirty="0">
                <a:solidFill>
                  <a:srgbClr val="C00000"/>
                </a:solidFill>
                <a:latin typeface="Google Sans" panose="020B0503030502040204" pitchFamily="34" charset="0"/>
              </a:rPr>
              <a:t> Business Opportunity</a:t>
            </a:r>
            <a:endParaRPr lang="id-ID" sz="2000" b="1" dirty="0">
              <a:solidFill>
                <a:srgbClr val="C00000"/>
              </a:solidFill>
              <a:latin typeface="Google Sans" panose="020B050303050204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D6056BF-AC1A-443B-A623-715EABD72811}"/>
              </a:ext>
            </a:extLst>
          </p:cNvPr>
          <p:cNvSpPr txBox="1"/>
          <p:nvPr/>
        </p:nvSpPr>
        <p:spPr>
          <a:xfrm>
            <a:off x="1189678" y="5141183"/>
            <a:ext cx="2447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Assessing Driver’s need of connectivity based on historical data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CDAEE7C-0894-4C52-9F57-94B0C6A7F03B}"/>
              </a:ext>
            </a:extLst>
          </p:cNvPr>
          <p:cNvSpPr txBox="1"/>
          <p:nvPr/>
        </p:nvSpPr>
        <p:spPr>
          <a:xfrm>
            <a:off x="4393833" y="5281074"/>
            <a:ext cx="2447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Understand package takers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ehaviour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AEF898F-7E99-43B1-B786-E57AF6D113D6}"/>
              </a:ext>
            </a:extLst>
          </p:cNvPr>
          <p:cNvSpPr/>
          <p:nvPr/>
        </p:nvSpPr>
        <p:spPr>
          <a:xfrm>
            <a:off x="4188766" y="50717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CD7AF2-382E-4633-9391-090F9953B7EA}"/>
              </a:ext>
            </a:extLst>
          </p:cNvPr>
          <p:cNvCxnSpPr/>
          <p:nvPr/>
        </p:nvCxnSpPr>
        <p:spPr>
          <a:xfrm>
            <a:off x="662940" y="4221064"/>
            <a:ext cx="10760693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0F4B596C-06B6-4E81-AD3D-97F63A78549A}"/>
              </a:ext>
            </a:extLst>
          </p:cNvPr>
          <p:cNvSpPr/>
          <p:nvPr/>
        </p:nvSpPr>
        <p:spPr>
          <a:xfrm>
            <a:off x="662940" y="1546720"/>
            <a:ext cx="10866120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4455161" y="1078401"/>
            <a:ext cx="2828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B050"/>
                </a:solidFill>
                <a:latin typeface="Google Sans" panose="020B0503030502040204" pitchFamily="34" charset="0"/>
              </a:rPr>
              <a:t>Driver Workflow</a:t>
            </a:r>
            <a:endParaRPr lang="id-ID" sz="2000" b="1" dirty="0">
              <a:solidFill>
                <a:srgbClr val="00B050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725ED951-0FF5-4F4E-82FC-CF2D2F6F90D1}"/>
              </a:ext>
            </a:extLst>
          </p:cNvPr>
          <p:cNvSpPr/>
          <p:nvPr/>
        </p:nvSpPr>
        <p:spPr>
          <a:xfrm>
            <a:off x="7283289" y="5033442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67A3F99-AC14-48EC-8AD8-42F901552C75}"/>
              </a:ext>
            </a:extLst>
          </p:cNvPr>
          <p:cNvSpPr txBox="1"/>
          <p:nvPr/>
        </p:nvSpPr>
        <p:spPr>
          <a:xfrm>
            <a:off x="6844977" y="5556682"/>
            <a:ext cx="1851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Science Modelling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1F8F67C-F653-491C-B94E-4520D0F9C9DE}"/>
              </a:ext>
            </a:extLst>
          </p:cNvPr>
          <p:cNvSpPr txBox="1"/>
          <p:nvPr/>
        </p:nvSpPr>
        <p:spPr>
          <a:xfrm>
            <a:off x="8983657" y="474285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ediction of package taker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345B4BC-F6D2-4611-A40B-434D7A2D819E}"/>
              </a:ext>
            </a:extLst>
          </p:cNvPr>
          <p:cNvSpPr/>
          <p:nvPr/>
        </p:nvSpPr>
        <p:spPr>
          <a:xfrm>
            <a:off x="8530035" y="479151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901123F-9F11-4AB7-BDA7-D9953DAA4286}"/>
              </a:ext>
            </a:extLst>
          </p:cNvPr>
          <p:cNvSpPr/>
          <p:nvPr/>
        </p:nvSpPr>
        <p:spPr>
          <a:xfrm>
            <a:off x="8530035" y="550414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2393CC9-F418-458C-97C0-0E068605B2F7}"/>
              </a:ext>
            </a:extLst>
          </p:cNvPr>
          <p:cNvSpPr txBox="1"/>
          <p:nvPr/>
        </p:nvSpPr>
        <p:spPr>
          <a:xfrm>
            <a:off x="9022856" y="5384276"/>
            <a:ext cx="23295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New opportunity of package pricing based on segment (cluster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F2EA74DC-D1B3-4D55-9B48-0E9FB6C54BA2}"/>
              </a:ext>
            </a:extLst>
          </p:cNvPr>
          <p:cNvSpPr/>
          <p:nvPr/>
        </p:nvSpPr>
        <p:spPr>
          <a:xfrm rot="5400000">
            <a:off x="4512919" y="3679943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A5851A6-6A1F-4549-9BAB-4D7E93DE080D}"/>
              </a:ext>
            </a:extLst>
          </p:cNvPr>
          <p:cNvSpPr txBox="1"/>
          <p:nvPr/>
        </p:nvSpPr>
        <p:spPr>
          <a:xfrm>
            <a:off x="4236628" y="4071885"/>
            <a:ext cx="1213405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Collection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37F5187E-5CF6-434E-89DA-607605BD8138}"/>
              </a:ext>
            </a:extLst>
          </p:cNvPr>
          <p:cNvSpPr/>
          <p:nvPr/>
        </p:nvSpPr>
        <p:spPr>
          <a:xfrm rot="16200000">
            <a:off x="6408281" y="3644554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06E5419-EB2E-4795-8F84-2D6ED84778B9}"/>
              </a:ext>
            </a:extLst>
          </p:cNvPr>
          <p:cNvSpPr txBox="1"/>
          <p:nvPr/>
        </p:nvSpPr>
        <p:spPr>
          <a:xfrm>
            <a:off x="6085554" y="4252035"/>
            <a:ext cx="1306277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ackage Offering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C17AD93E-8D8D-4C77-BE2C-ED49CDC93CE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1" t="34380" r="22023" b="34380"/>
          <a:stretch/>
        </p:blipFill>
        <p:spPr>
          <a:xfrm>
            <a:off x="4598313" y="1909174"/>
            <a:ext cx="770487" cy="239611"/>
          </a:xfrm>
          <a:prstGeom prst="rect">
            <a:avLst/>
          </a:prstGeom>
        </p:spPr>
      </p:pic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DEE69F5-1E01-45F9-B593-2A91AEC369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41" y="1889028"/>
            <a:ext cx="526991" cy="20462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41C6A59-1BB7-4ADF-AE66-83C3F441027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442" r="23326"/>
          <a:stretch/>
        </p:blipFill>
        <p:spPr>
          <a:xfrm>
            <a:off x="6537681" y="1757070"/>
            <a:ext cx="504733" cy="523240"/>
          </a:xfrm>
          <a:prstGeom prst="rect">
            <a:avLst/>
          </a:prstGeom>
        </p:spPr>
      </p:pic>
      <p:pic>
        <p:nvPicPr>
          <p:cNvPr id="65" name="Picture 64" descr="A close up of a sign&#10;&#10;Description automatically generated">
            <a:extLst>
              <a:ext uri="{FF2B5EF4-FFF2-40B4-BE49-F238E27FC236}">
                <a16:creationId xmlns:a16="http://schemas.microsoft.com/office/drawing/2014/main" id="{7DAAFDE4-2458-4DB6-88D5-01AC46FB0B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714" y="1795323"/>
            <a:ext cx="387532" cy="387532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50DFC7F-5A6C-4852-93CD-19D6575880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222" y="2829364"/>
            <a:ext cx="335610" cy="335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0C01421-2D03-45B6-BEF5-8C7BCEABAD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07013" y="2807495"/>
            <a:ext cx="407253" cy="40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519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72B060E5-9DCA-462C-9B1C-C693078152F0}"/>
              </a:ext>
            </a:extLst>
          </p:cNvPr>
          <p:cNvSpPr/>
          <p:nvPr/>
        </p:nvSpPr>
        <p:spPr>
          <a:xfrm>
            <a:off x="635515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based on previous business problem, </a:t>
            </a:r>
            <a:r>
              <a:rPr lang="en-ID" sz="2400" b="1" dirty="0">
                <a:latin typeface="Google Sans" panose="020B0503030502040204" pitchFamily="34" charset="0"/>
              </a:rPr>
              <a:t>3 </a:t>
            </a:r>
            <a:r>
              <a:rPr lang="en-ID" sz="2400" dirty="0">
                <a:latin typeface="Google Sans" panose="020B0503030502040204" pitchFamily="34" charset="0"/>
              </a:rPr>
              <a:t>objective and key result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can be derived with data science process (classification &amp; clustering)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1227859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Problem Statemen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36801-2B84-4349-BECA-CC82F5A4F0EB}"/>
              </a:ext>
            </a:extLst>
          </p:cNvPr>
          <p:cNvSpPr txBox="1"/>
          <p:nvPr/>
        </p:nvSpPr>
        <p:spPr>
          <a:xfrm>
            <a:off x="777754" y="1575117"/>
            <a:ext cx="38044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 err="1">
                <a:latin typeface="Google Sans" panose="020B0503030502040204" pitchFamily="34" charset="0"/>
              </a:rPr>
              <a:t>Telkomsel</a:t>
            </a:r>
            <a:r>
              <a:rPr lang="en-ID" sz="1600" dirty="0">
                <a:latin typeface="Google Sans" panose="020B0503030502040204" pitchFamily="34" charset="0"/>
              </a:rPr>
              <a:t> already have </a:t>
            </a:r>
            <a:r>
              <a:rPr lang="en-ID" sz="1600" b="1" dirty="0">
                <a:latin typeface="Google Sans" panose="020B0503030502040204" pitchFamily="34" charset="0"/>
              </a:rPr>
              <a:t>ride-hailing package</a:t>
            </a:r>
            <a:r>
              <a:rPr lang="en-ID" sz="1600" dirty="0">
                <a:latin typeface="Google Sans" panose="020B0503030502040204" pitchFamily="34" charset="0"/>
              </a:rPr>
              <a:t> for drivers, priced at IDR 75k/month.</a:t>
            </a:r>
          </a:p>
          <a:p>
            <a:endParaRPr lang="en-ID" sz="1600" b="1" dirty="0">
              <a:latin typeface="Google Sans" panose="020B0503030502040204" pitchFamily="34" charset="0"/>
            </a:endParaRPr>
          </a:p>
          <a:p>
            <a:r>
              <a:rPr lang="en-ID" sz="1600" dirty="0">
                <a:latin typeface="Google Sans" panose="020B0503030502040204" pitchFamily="34" charset="0"/>
              </a:rPr>
              <a:t>The package are targeted for whitelisted MSISDN, as October’19 there are </a:t>
            </a:r>
            <a:r>
              <a:rPr lang="en-ID" sz="1600" b="1" dirty="0">
                <a:latin typeface="Google Sans" panose="020B0503030502040204" pitchFamily="34" charset="0"/>
              </a:rPr>
              <a:t>1.31 </a:t>
            </a:r>
            <a:r>
              <a:rPr lang="en-ID" sz="1600" b="1" dirty="0" err="1">
                <a:latin typeface="Google Sans" panose="020B0503030502040204" pitchFamily="34" charset="0"/>
              </a:rPr>
              <a:t>mio</a:t>
            </a:r>
            <a:r>
              <a:rPr lang="en-ID" sz="1600" b="1" dirty="0">
                <a:latin typeface="Google Sans" panose="020B0503030502040204" pitchFamily="34" charset="0"/>
              </a:rPr>
              <a:t> of whitelist with 547k takers (41.7%)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E8964C-9774-4EA4-AF74-611111BC9633}"/>
              </a:ext>
            </a:extLst>
          </p:cNvPr>
          <p:cNvSpPr/>
          <p:nvPr/>
        </p:nvSpPr>
        <p:spPr>
          <a:xfrm>
            <a:off x="7123079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2DBC28E-5508-402E-A069-93A7E01191A9}"/>
              </a:ext>
            </a:extLst>
          </p:cNvPr>
          <p:cNvSpPr txBox="1"/>
          <p:nvPr/>
        </p:nvSpPr>
        <p:spPr>
          <a:xfrm>
            <a:off x="7715423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Objective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90DD4093-83FA-401F-AD2C-9EE1D221DF06}"/>
              </a:ext>
            </a:extLst>
          </p:cNvPr>
          <p:cNvSpPr/>
          <p:nvPr/>
        </p:nvSpPr>
        <p:spPr>
          <a:xfrm>
            <a:off x="7265318" y="16570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5E2F387-12DC-4E11-8FA9-064414204B3D}"/>
              </a:ext>
            </a:extLst>
          </p:cNvPr>
          <p:cNvSpPr txBox="1"/>
          <p:nvPr/>
        </p:nvSpPr>
        <p:spPr>
          <a:xfrm>
            <a:off x="7715424" y="16495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Build </a:t>
            </a:r>
            <a:r>
              <a:rPr lang="en-ID" sz="1600" b="1" dirty="0">
                <a:latin typeface="Google Sans" panose="020B0503030502040204" pitchFamily="34" charset="0"/>
              </a:rPr>
              <a:t>supervised model that can predict takers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57AF468-E6CF-46CB-B114-52C281CF669F}"/>
              </a:ext>
            </a:extLst>
          </p:cNvPr>
          <p:cNvSpPr/>
          <p:nvPr/>
        </p:nvSpPr>
        <p:spPr>
          <a:xfrm>
            <a:off x="7265318" y="22951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1DCBCD-CDD3-4C1E-A691-FB0D30C83F9B}"/>
              </a:ext>
            </a:extLst>
          </p:cNvPr>
          <p:cNvSpPr txBox="1"/>
          <p:nvPr/>
        </p:nvSpPr>
        <p:spPr>
          <a:xfrm>
            <a:off x="7715424" y="22876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oogle Sans" panose="020B0503030502040204" pitchFamily="34" charset="0"/>
              </a:rPr>
              <a:t>C</a:t>
            </a:r>
            <a:r>
              <a:rPr lang="en-ID" sz="1600" b="1" dirty="0" err="1">
                <a:latin typeface="Google Sans" panose="020B0503030502040204" pitchFamily="34" charset="0"/>
              </a:rPr>
              <a:t>reate</a:t>
            </a:r>
            <a:r>
              <a:rPr lang="en-ID" sz="1600" b="1" dirty="0">
                <a:latin typeface="Google Sans" panose="020B0503030502040204" pitchFamily="34" charset="0"/>
              </a:rPr>
              <a:t> segment of customer </a:t>
            </a:r>
            <a:r>
              <a:rPr lang="en-ID" sz="1600" dirty="0">
                <a:latin typeface="Google Sans" panose="020B0503030502040204" pitchFamily="34" charset="0"/>
              </a:rPr>
              <a:t>with clust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C88EE9D-29B3-4BE2-ABA9-A786EE3457F1}"/>
              </a:ext>
            </a:extLst>
          </p:cNvPr>
          <p:cNvSpPr/>
          <p:nvPr/>
        </p:nvSpPr>
        <p:spPr>
          <a:xfrm>
            <a:off x="7265318" y="2980406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1D16F8E-D0D1-43C8-BD7D-801E84DD6858}"/>
              </a:ext>
            </a:extLst>
          </p:cNvPr>
          <p:cNvSpPr txBox="1"/>
          <p:nvPr/>
        </p:nvSpPr>
        <p:spPr>
          <a:xfrm>
            <a:off x="7715424" y="2972859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Develop </a:t>
            </a:r>
            <a:r>
              <a:rPr lang="en-ID" sz="1600" b="1" dirty="0">
                <a:latin typeface="Google Sans" panose="020B0503030502040204" pitchFamily="34" charset="0"/>
              </a:rPr>
              <a:t>subsegment </a:t>
            </a:r>
            <a:r>
              <a:rPr lang="en-ID" sz="1600" dirty="0">
                <a:latin typeface="Google Sans" panose="020B0503030502040204" pitchFamily="34" charset="0"/>
              </a:rPr>
              <a:t>based on ARPU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5ABF38D-6B25-488B-B6F5-ACEA4240FDDC}"/>
              </a:ext>
            </a:extLst>
          </p:cNvPr>
          <p:cNvSpPr/>
          <p:nvPr/>
        </p:nvSpPr>
        <p:spPr>
          <a:xfrm>
            <a:off x="3499338" y="4355780"/>
            <a:ext cx="4589585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DC36301-7F6C-4719-BFDA-518B00236BA4}"/>
              </a:ext>
            </a:extLst>
          </p:cNvPr>
          <p:cNvSpPr txBox="1"/>
          <p:nvPr/>
        </p:nvSpPr>
        <p:spPr>
          <a:xfrm>
            <a:off x="4361124" y="4155725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Key Resul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4550D07-0618-41C3-ACD2-1CF2F65665BD}"/>
              </a:ext>
            </a:extLst>
          </p:cNvPr>
          <p:cNvSpPr/>
          <p:nvPr/>
        </p:nvSpPr>
        <p:spPr>
          <a:xfrm>
            <a:off x="3911019" y="46614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F6342D0-33E4-41D6-8245-2DE4B3D5FA43}"/>
              </a:ext>
            </a:extLst>
          </p:cNvPr>
          <p:cNvSpPr txBox="1"/>
          <p:nvPr/>
        </p:nvSpPr>
        <p:spPr>
          <a:xfrm>
            <a:off x="4361125" y="46538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Achieve 80% Area Under the Curve (AUC) and 70% F1-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39A7997-A3F5-45E3-AAA5-519DBB616ECF}"/>
              </a:ext>
            </a:extLst>
          </p:cNvPr>
          <p:cNvSpPr/>
          <p:nvPr/>
        </p:nvSpPr>
        <p:spPr>
          <a:xfrm>
            <a:off x="3911019" y="52995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1100936-1BE4-483F-8689-06B67077F061}"/>
              </a:ext>
            </a:extLst>
          </p:cNvPr>
          <p:cNvSpPr txBox="1"/>
          <p:nvPr/>
        </p:nvSpPr>
        <p:spPr>
          <a:xfrm>
            <a:off x="4361125" y="52919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Reach Silhouette Score of &gt;0.6 to determine cluster size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34AC485-7090-4714-9D0F-AF1D01D5C525}"/>
              </a:ext>
            </a:extLst>
          </p:cNvPr>
          <p:cNvSpPr/>
          <p:nvPr/>
        </p:nvSpPr>
        <p:spPr>
          <a:xfrm>
            <a:off x="3911019" y="5984739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7D485F-A8D0-4388-9097-A40F01F3AF68}"/>
              </a:ext>
            </a:extLst>
          </p:cNvPr>
          <p:cNvSpPr txBox="1"/>
          <p:nvPr/>
        </p:nvSpPr>
        <p:spPr>
          <a:xfrm>
            <a:off x="4361125" y="5977192"/>
            <a:ext cx="3727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Achieve IDR 3000 ARPU uplift/subs by offering subsegment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CACAC4E-8E1A-4BD4-BA49-2764E22D67B1}"/>
              </a:ext>
            </a:extLst>
          </p:cNvPr>
          <p:cNvSpPr/>
          <p:nvPr/>
        </p:nvSpPr>
        <p:spPr>
          <a:xfrm>
            <a:off x="4854983" y="2249277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DBFDE959-3281-4558-96FF-3DD9BFCF4600}"/>
              </a:ext>
            </a:extLst>
          </p:cNvPr>
          <p:cNvSpPr/>
          <p:nvPr/>
        </p:nvSpPr>
        <p:spPr>
          <a:xfrm rot="8205063">
            <a:off x="7946558" y="4424780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0487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74A031-C3B0-4488-90C2-9EF0D739734C}"/>
              </a:ext>
            </a:extLst>
          </p:cNvPr>
          <p:cNvCxnSpPr/>
          <p:nvPr/>
        </p:nvCxnSpPr>
        <p:spPr>
          <a:xfrm>
            <a:off x="4170678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81D0E2C-8B54-468D-975B-10BF6CEAF0A0}"/>
              </a:ext>
            </a:extLst>
          </p:cNvPr>
          <p:cNvCxnSpPr/>
          <p:nvPr/>
        </p:nvCxnSpPr>
        <p:spPr>
          <a:xfrm>
            <a:off x="5298434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DFF1682-6032-4F27-9B0C-0DA667C2F9C6}"/>
              </a:ext>
            </a:extLst>
          </p:cNvPr>
          <p:cNvCxnSpPr/>
          <p:nvPr/>
        </p:nvCxnSpPr>
        <p:spPr>
          <a:xfrm>
            <a:off x="6380476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5C7B7D4-1992-46FA-987A-725F365BCD11}"/>
              </a:ext>
            </a:extLst>
          </p:cNvPr>
          <p:cNvCxnSpPr/>
          <p:nvPr/>
        </p:nvCxnSpPr>
        <p:spPr>
          <a:xfrm>
            <a:off x="7471977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DA08FED-B71E-4676-BA08-A72B4CEDFF5E}"/>
              </a:ext>
            </a:extLst>
          </p:cNvPr>
          <p:cNvCxnSpPr/>
          <p:nvPr/>
        </p:nvCxnSpPr>
        <p:spPr>
          <a:xfrm>
            <a:off x="8569257" y="1275171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DB91992-55F7-4707-9353-226C6D1E7152}"/>
              </a:ext>
            </a:extLst>
          </p:cNvPr>
          <p:cNvCxnSpPr/>
          <p:nvPr/>
        </p:nvCxnSpPr>
        <p:spPr>
          <a:xfrm>
            <a:off x="9643793" y="128533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BAE59A-C5E9-45E0-AEA8-1F3F96BF6630}"/>
              </a:ext>
            </a:extLst>
          </p:cNvPr>
          <p:cNvCxnSpPr/>
          <p:nvPr/>
        </p:nvCxnSpPr>
        <p:spPr>
          <a:xfrm>
            <a:off x="10720753" y="127517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to achieve the result, expected timeline is </a:t>
            </a:r>
            <a:r>
              <a:rPr lang="en-ID" sz="2400" b="1" dirty="0">
                <a:latin typeface="Google Sans" panose="020B0503030502040204" pitchFamily="34" charset="0"/>
              </a:rPr>
              <a:t>2 months</a:t>
            </a:r>
            <a:r>
              <a:rPr lang="en-ID" sz="2400" dirty="0">
                <a:latin typeface="Google Sans" panose="020B0503030502040204" pitchFamily="34" charset="0"/>
              </a:rPr>
              <a:t> of CRISP-DM complete cycl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BA46FC-0CC1-418D-8DE1-5CE03271B389}"/>
              </a:ext>
            </a:extLst>
          </p:cNvPr>
          <p:cNvSpPr/>
          <p:nvPr/>
        </p:nvSpPr>
        <p:spPr>
          <a:xfrm>
            <a:off x="3108960" y="1569495"/>
            <a:ext cx="8726037" cy="725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DDA32-AB0A-4A09-ACFC-BD7E600F6BEB}"/>
              </a:ext>
            </a:extLst>
          </p:cNvPr>
          <p:cNvSpPr txBox="1"/>
          <p:nvPr/>
        </p:nvSpPr>
        <p:spPr>
          <a:xfrm>
            <a:off x="107194" y="2387143"/>
            <a:ext cx="2930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CC83BA-538A-4809-8815-588D9DF66EE4}"/>
              </a:ext>
            </a:extLst>
          </p:cNvPr>
          <p:cNvSpPr txBox="1"/>
          <p:nvPr/>
        </p:nvSpPr>
        <p:spPr>
          <a:xfrm>
            <a:off x="107194" y="3111930"/>
            <a:ext cx="2607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84164A-B352-4686-96AB-EA200EF81D89}"/>
              </a:ext>
            </a:extLst>
          </p:cNvPr>
          <p:cNvSpPr txBox="1"/>
          <p:nvPr/>
        </p:nvSpPr>
        <p:spPr>
          <a:xfrm>
            <a:off x="107194" y="383671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02F820-3FAD-4E91-8A2D-B1AC5E147049}"/>
              </a:ext>
            </a:extLst>
          </p:cNvPr>
          <p:cNvSpPr txBox="1"/>
          <p:nvPr/>
        </p:nvSpPr>
        <p:spPr>
          <a:xfrm>
            <a:off x="107195" y="452889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velop Model MVP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7EF14E-0E3E-488B-94DE-B2E311DC5CD3}"/>
              </a:ext>
            </a:extLst>
          </p:cNvPr>
          <p:cNvSpPr txBox="1"/>
          <p:nvPr/>
        </p:nvSpPr>
        <p:spPr>
          <a:xfrm>
            <a:off x="107195" y="523980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 &amp; Ite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D6114BE-8556-4BDD-A07C-C33E282AA61D}"/>
              </a:ext>
            </a:extLst>
          </p:cNvPr>
          <p:cNvSpPr txBox="1"/>
          <p:nvPr/>
        </p:nvSpPr>
        <p:spPr>
          <a:xfrm>
            <a:off x="107195" y="591374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livery &amp; 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E6E6EEE-DBD2-47C8-B505-2C594C1AC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092420"/>
              </p:ext>
            </p:extLst>
          </p:nvPr>
        </p:nvGraphicFramePr>
        <p:xfrm>
          <a:off x="3108957" y="1198655"/>
          <a:ext cx="872604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755">
                  <a:extLst>
                    <a:ext uri="{9D8B030D-6E8A-4147-A177-3AD203B41FA5}">
                      <a16:colId xmlns:a16="http://schemas.microsoft.com/office/drawing/2014/main" val="171380824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1302978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9404755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06779693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692716750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53253214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335187037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8334655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Mar 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Ap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573628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00FEBC-A428-4147-847A-FC9B439A1E36}"/>
              </a:ext>
            </a:extLst>
          </p:cNvPr>
          <p:cNvSpPr/>
          <p:nvPr/>
        </p:nvSpPr>
        <p:spPr>
          <a:xfrm>
            <a:off x="3108957" y="2488640"/>
            <a:ext cx="1066803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0C2DE96-9A95-4E49-8D6C-99DAA6493286}"/>
              </a:ext>
            </a:extLst>
          </p:cNvPr>
          <p:cNvSpPr/>
          <p:nvPr/>
        </p:nvSpPr>
        <p:spPr>
          <a:xfrm>
            <a:off x="3108956" y="3251758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D6D6E06-7633-48FE-ACC8-C7C7C01000A6}"/>
              </a:ext>
            </a:extLst>
          </p:cNvPr>
          <p:cNvSpPr/>
          <p:nvPr/>
        </p:nvSpPr>
        <p:spPr>
          <a:xfrm>
            <a:off x="4170678" y="3890327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BDBA284-F5AF-480B-84E3-A0DEDDC6FDE8}"/>
              </a:ext>
            </a:extLst>
          </p:cNvPr>
          <p:cNvSpPr/>
          <p:nvPr/>
        </p:nvSpPr>
        <p:spPr>
          <a:xfrm>
            <a:off x="6405291" y="4442728"/>
            <a:ext cx="1019129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CAAD9B1-EE0C-4D44-93EC-A5621631B9DF}"/>
              </a:ext>
            </a:extLst>
          </p:cNvPr>
          <p:cNvSpPr/>
          <p:nvPr/>
        </p:nvSpPr>
        <p:spPr>
          <a:xfrm>
            <a:off x="6426586" y="5288505"/>
            <a:ext cx="4221092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1230F88-58EE-4276-810E-EC91FD5EE134}"/>
              </a:ext>
            </a:extLst>
          </p:cNvPr>
          <p:cNvSpPr/>
          <p:nvPr/>
        </p:nvSpPr>
        <p:spPr>
          <a:xfrm>
            <a:off x="9643793" y="6093239"/>
            <a:ext cx="2191204" cy="18983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8271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Ts7IY9nZc_6P6RQIr2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95</TotalTime>
  <Words>2804</Words>
  <Application>Microsoft Office PowerPoint</Application>
  <PresentationFormat>Widescreen</PresentationFormat>
  <Paragraphs>653</Paragraphs>
  <Slides>4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8" baseType="lpstr">
      <vt:lpstr>Arial</vt:lpstr>
      <vt:lpstr>Calibri</vt:lpstr>
      <vt:lpstr>Calibri Light</vt:lpstr>
      <vt:lpstr>Google Sans</vt:lpstr>
      <vt:lpstr>Lato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zaldy_ak_utomo</dc:creator>
  <cp:lastModifiedBy>rizaldy_ak_utomo</cp:lastModifiedBy>
  <cp:revision>190</cp:revision>
  <dcterms:created xsi:type="dcterms:W3CDTF">2020-02-28T00:15:47Z</dcterms:created>
  <dcterms:modified xsi:type="dcterms:W3CDTF">2020-04-09T03:54:12Z</dcterms:modified>
</cp:coreProperties>
</file>